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8" r:id="rId2"/>
  </p:sldMasterIdLst>
  <p:notesMasterIdLst>
    <p:notesMasterId r:id="rId12"/>
  </p:notesMasterIdLst>
  <p:handoutMasterIdLst>
    <p:handoutMasterId r:id="rId13"/>
  </p:handoutMasterIdLst>
  <p:sldIdLst>
    <p:sldId id="320" r:id="rId3"/>
    <p:sldId id="721" r:id="rId4"/>
    <p:sldId id="459" r:id="rId5"/>
    <p:sldId id="720" r:id="rId6"/>
    <p:sldId id="719" r:id="rId7"/>
    <p:sldId id="722" r:id="rId8"/>
    <p:sldId id="259" r:id="rId9"/>
    <p:sldId id="261" r:id="rId10"/>
    <p:sldId id="262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marL="0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94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89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684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578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472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367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261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156" algn="l" defTabSz="68578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E143938-A06E-4F89-B179-86190A61B546}">
          <p14:sldIdLst>
            <p14:sldId id="320"/>
            <p14:sldId id="721"/>
            <p14:sldId id="459"/>
            <p14:sldId id="720"/>
            <p14:sldId id="719"/>
            <p14:sldId id="722"/>
          </p14:sldIdLst>
        </p14:section>
        <p14:section name="Best Practice Template" id="{C9F80044-5977-42AB-998C-94690F3C59E0}">
          <p14:sldIdLst>
            <p14:sldId id="259"/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1" userDrawn="1">
          <p15:clr>
            <a:srgbClr val="A4A3A4"/>
          </p15:clr>
        </p15:guide>
        <p15:guide id="2" pos="7680" userDrawn="1">
          <p15:clr>
            <a:srgbClr val="A4A3A4"/>
          </p15:clr>
        </p15:guide>
        <p15:guide id="3" orient="horz" pos="1818">
          <p15:clr>
            <a:srgbClr val="A4A3A4"/>
          </p15:clr>
        </p15:guide>
        <p15:guide id="4" orient="horz" pos="3082">
          <p15:clr>
            <a:srgbClr val="A4A3A4"/>
          </p15:clr>
        </p15:guide>
        <p15:guide id="5" orient="horz" pos="7121">
          <p15:clr>
            <a:srgbClr val="A4A3A4"/>
          </p15:clr>
        </p15:guide>
        <p15:guide id="6" pos="1603">
          <p15:clr>
            <a:srgbClr val="A4A3A4"/>
          </p15:clr>
        </p15:guide>
        <p15:guide id="7" pos="13777">
          <p15:clr>
            <a:srgbClr val="A4A3A4"/>
          </p15:clr>
        </p15:guide>
        <p15:guide id="8" pos="11037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682">
          <p15:clr>
            <a:srgbClr val="A4A3A4"/>
          </p15:clr>
        </p15:guide>
        <p15:guide id="11" orient="horz" pos="1156">
          <p15:clr>
            <a:srgbClr val="A4A3A4"/>
          </p15:clr>
        </p15:guide>
        <p15:guide id="12" orient="horz" pos="2670">
          <p15:clr>
            <a:srgbClr val="A4A3A4"/>
          </p15:clr>
        </p15:guide>
        <p15:guide id="13" pos="2880">
          <p15:clr>
            <a:srgbClr val="A4A3A4"/>
          </p15:clr>
        </p15:guide>
        <p15:guide id="14" pos="601">
          <p15:clr>
            <a:srgbClr val="A4A3A4"/>
          </p15:clr>
        </p15:guide>
        <p15:guide id="15" pos="5166">
          <p15:clr>
            <a:srgbClr val="A4A3A4"/>
          </p15:clr>
        </p15:guide>
        <p15:guide id="16" pos="41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 Gorman" initials="P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F6F"/>
    <a:srgbClr val="474847"/>
    <a:srgbClr val="505150"/>
    <a:srgbClr val="6A81B6"/>
    <a:srgbClr val="F4364C"/>
    <a:srgbClr val="0047BB"/>
    <a:srgbClr val="AD1AAC"/>
    <a:srgbClr val="919D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1401" autoAdjust="0"/>
  </p:normalViewPr>
  <p:slideViewPr>
    <p:cSldViewPr snapToGrid="0" showGuides="1">
      <p:cViewPr varScale="1">
        <p:scale>
          <a:sx n="150" d="100"/>
          <a:sy n="150" d="100"/>
        </p:scale>
        <p:origin x="456" y="126"/>
      </p:cViewPr>
      <p:guideLst>
        <p:guide orient="horz" pos="4321"/>
        <p:guide pos="7680"/>
        <p:guide orient="horz" pos="1818"/>
        <p:guide orient="horz" pos="3082"/>
        <p:guide orient="horz" pos="7121"/>
        <p:guide pos="1603"/>
        <p:guide pos="13777"/>
        <p:guide pos="11037"/>
        <p:guide orient="horz" pos="1620"/>
        <p:guide orient="horz" pos="682"/>
        <p:guide orient="horz" pos="1156"/>
        <p:guide orient="horz" pos="2670"/>
        <p:guide pos="2880"/>
        <p:guide pos="601"/>
        <p:guide pos="5166"/>
        <p:guide pos="4139"/>
      </p:guideLst>
    </p:cSldViewPr>
  </p:slideViewPr>
  <p:outlineViewPr>
    <p:cViewPr>
      <p:scale>
        <a:sx n="33" d="100"/>
        <a:sy n="33" d="100"/>
      </p:scale>
      <p:origin x="0" y="-428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250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F0FBB3-FD9E-4E76-BE5D-E0972577AF32}" type="doc">
      <dgm:prSet loTypeId="urn:microsoft.com/office/officeart/2005/8/layout/vList5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254EF7A-65E2-4EA4-B18B-4A040F5D99CF}">
      <dgm:prSet phldrT="[文本]" custT="1"/>
      <dgm:spPr/>
      <dgm:t>
        <a:bodyPr/>
        <a:lstStyle/>
        <a:p>
          <a:r>
            <a:rPr lang="en-US" altLang="zh-CN" sz="2800" dirty="0">
              <a:latin typeface="Century Gothic" panose="020B0502020202020204" pitchFamily="34" charset="0"/>
            </a:rPr>
            <a:t>EHS</a:t>
          </a:r>
          <a:endParaRPr lang="en-US" sz="2800" dirty="0">
            <a:latin typeface="Century Gothic" panose="020B0502020202020204" pitchFamily="34" charset="0"/>
          </a:endParaRPr>
        </a:p>
      </dgm:t>
    </dgm:pt>
    <dgm:pt modelId="{BF32D34D-F951-4072-833B-8EE65A34514B}" type="parTrans" cxnId="{3E7EEC12-ABDA-4BDC-88D3-734510C9039C}">
      <dgm:prSet/>
      <dgm:spPr/>
      <dgm:t>
        <a:bodyPr/>
        <a:lstStyle/>
        <a:p>
          <a:endParaRPr lang="en-US"/>
        </a:p>
      </dgm:t>
    </dgm:pt>
    <dgm:pt modelId="{334CB7A6-D257-4F0B-9831-E3E1F356E79A}" type="sibTrans" cxnId="{3E7EEC12-ABDA-4BDC-88D3-734510C9039C}">
      <dgm:prSet/>
      <dgm:spPr/>
      <dgm:t>
        <a:bodyPr/>
        <a:lstStyle/>
        <a:p>
          <a:endParaRPr lang="en-US"/>
        </a:p>
      </dgm:t>
    </dgm:pt>
    <dgm:pt modelId="{FFD7BB73-F2DA-4AFF-9E5D-7BC1CB0067F6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8874C6BA-8F99-41CE-AE48-BBC19FE5E1D7}" type="parTrans" cxnId="{41A9450B-71E7-4A9F-93CF-039C23490284}">
      <dgm:prSet/>
      <dgm:spPr/>
      <dgm:t>
        <a:bodyPr/>
        <a:lstStyle/>
        <a:p>
          <a:endParaRPr lang="en-US"/>
        </a:p>
      </dgm:t>
    </dgm:pt>
    <dgm:pt modelId="{FFC34DCF-CF72-4073-B068-09D8DE0964B8}" type="sibTrans" cxnId="{41A9450B-71E7-4A9F-93CF-039C23490284}">
      <dgm:prSet/>
      <dgm:spPr/>
      <dgm:t>
        <a:bodyPr/>
        <a:lstStyle/>
        <a:p>
          <a:endParaRPr lang="en-US"/>
        </a:p>
      </dgm:t>
    </dgm:pt>
    <dgm:pt modelId="{13AFA96F-2A1A-42B6-A360-E52F6BB1DC38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CC906602-1DDA-4D99-82A8-C834C0F3A5C6}" type="parTrans" cxnId="{8F578167-D78D-42C8-AB68-33BD88C1E649}">
      <dgm:prSet/>
      <dgm:spPr/>
      <dgm:t>
        <a:bodyPr/>
        <a:lstStyle/>
        <a:p>
          <a:endParaRPr lang="en-US"/>
        </a:p>
      </dgm:t>
    </dgm:pt>
    <dgm:pt modelId="{6CF92FF4-B45A-4B14-9828-E5BFBE9F6758}" type="sibTrans" cxnId="{8F578167-D78D-42C8-AB68-33BD88C1E649}">
      <dgm:prSet/>
      <dgm:spPr/>
      <dgm:t>
        <a:bodyPr/>
        <a:lstStyle/>
        <a:p>
          <a:endParaRPr lang="en-US"/>
        </a:p>
      </dgm:t>
    </dgm:pt>
    <dgm:pt modelId="{07FFD755-1B0E-4F8D-AEB5-90B4928AD810}">
      <dgm:prSet phldrT="[文本]" custT="1"/>
      <dgm:spPr/>
      <dgm:t>
        <a:bodyPr/>
        <a:lstStyle/>
        <a:p>
          <a:r>
            <a:rPr lang="en-US" altLang="zh-CN" sz="2800" dirty="0">
              <a:latin typeface="Century Gothic" panose="020B0502020202020204" pitchFamily="34" charset="0"/>
            </a:rPr>
            <a:t>Cost</a:t>
          </a:r>
          <a:endParaRPr lang="en-US" sz="2800" dirty="0">
            <a:latin typeface="Century Gothic" panose="020B0502020202020204" pitchFamily="34" charset="0"/>
          </a:endParaRPr>
        </a:p>
      </dgm:t>
    </dgm:pt>
    <dgm:pt modelId="{8D67B00B-2D5B-4302-ACC2-97A749ACC3C1}" type="parTrans" cxnId="{A04DA937-E84E-43E3-B2F8-4006C64FD9B2}">
      <dgm:prSet/>
      <dgm:spPr/>
      <dgm:t>
        <a:bodyPr/>
        <a:lstStyle/>
        <a:p>
          <a:endParaRPr lang="en-US"/>
        </a:p>
      </dgm:t>
    </dgm:pt>
    <dgm:pt modelId="{021497CD-4B32-4A50-B195-1DAE3B4B0F24}" type="sibTrans" cxnId="{A04DA937-E84E-43E3-B2F8-4006C64FD9B2}">
      <dgm:prSet/>
      <dgm:spPr/>
      <dgm:t>
        <a:bodyPr/>
        <a:lstStyle/>
        <a:p>
          <a:endParaRPr lang="en-US"/>
        </a:p>
      </dgm:t>
    </dgm:pt>
    <dgm:pt modelId="{DBB64748-EE3E-47A6-8287-17E1197BFB95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8A2924AC-970F-4D5A-815D-E77889FF4D4D}" type="parTrans" cxnId="{8C1FA775-BA96-4C5F-BEFE-B9E2FDBB494C}">
      <dgm:prSet/>
      <dgm:spPr/>
      <dgm:t>
        <a:bodyPr/>
        <a:lstStyle/>
        <a:p>
          <a:endParaRPr lang="en-US"/>
        </a:p>
      </dgm:t>
    </dgm:pt>
    <dgm:pt modelId="{1892E2B9-F210-47DE-B420-3D5A2D970550}" type="sibTrans" cxnId="{8C1FA775-BA96-4C5F-BEFE-B9E2FDBB494C}">
      <dgm:prSet/>
      <dgm:spPr/>
      <dgm:t>
        <a:bodyPr/>
        <a:lstStyle/>
        <a:p>
          <a:endParaRPr lang="en-US"/>
        </a:p>
      </dgm:t>
    </dgm:pt>
    <dgm:pt modelId="{38E8FF2A-FD96-4236-A4F0-07FB8EB9D772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C08F865B-B533-4BEB-A715-9D6D2B770EB1}" type="parTrans" cxnId="{35075FB4-9530-4B25-92CE-E8F3C5D4C137}">
      <dgm:prSet/>
      <dgm:spPr/>
      <dgm:t>
        <a:bodyPr/>
        <a:lstStyle/>
        <a:p>
          <a:endParaRPr lang="en-US"/>
        </a:p>
      </dgm:t>
    </dgm:pt>
    <dgm:pt modelId="{A0580464-DCC8-4886-81CF-1925A00D3FF0}" type="sibTrans" cxnId="{35075FB4-9530-4B25-92CE-E8F3C5D4C137}">
      <dgm:prSet/>
      <dgm:spPr/>
      <dgm:t>
        <a:bodyPr/>
        <a:lstStyle/>
        <a:p>
          <a:endParaRPr lang="en-US"/>
        </a:p>
      </dgm:t>
    </dgm:pt>
    <dgm:pt modelId="{8D4895DB-D39A-4677-B7EC-432FD374CDB8}">
      <dgm:prSet phldrT="[文本]" custT="1"/>
      <dgm:spPr/>
      <dgm:t>
        <a:bodyPr/>
        <a:lstStyle/>
        <a:p>
          <a:r>
            <a:rPr lang="en-US" altLang="zh-CN" sz="2800" dirty="0">
              <a:latin typeface="Century Gothic" panose="020B0502020202020204" pitchFamily="34" charset="0"/>
            </a:rPr>
            <a:t>FTE</a:t>
          </a:r>
          <a:endParaRPr lang="en-US" sz="2800" dirty="0">
            <a:latin typeface="Century Gothic" panose="020B0502020202020204" pitchFamily="34" charset="0"/>
          </a:endParaRPr>
        </a:p>
      </dgm:t>
    </dgm:pt>
    <dgm:pt modelId="{4CFCC33E-67F3-42A0-AEC4-66BD43D0E5B1}" type="parTrans" cxnId="{4324E3CD-D65E-4689-B113-D32E479A8F83}">
      <dgm:prSet/>
      <dgm:spPr/>
      <dgm:t>
        <a:bodyPr/>
        <a:lstStyle/>
        <a:p>
          <a:endParaRPr lang="en-US"/>
        </a:p>
      </dgm:t>
    </dgm:pt>
    <dgm:pt modelId="{48214A64-1DD0-4944-A19F-2E1F21C237DE}" type="sibTrans" cxnId="{4324E3CD-D65E-4689-B113-D32E479A8F83}">
      <dgm:prSet/>
      <dgm:spPr/>
      <dgm:t>
        <a:bodyPr/>
        <a:lstStyle/>
        <a:p>
          <a:endParaRPr lang="en-US"/>
        </a:p>
      </dgm:t>
    </dgm:pt>
    <dgm:pt modelId="{550BA126-DFF6-42C5-8012-E6F343F2C921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9D502190-078F-4EE1-A57D-B31FF4E8FB17}" type="parTrans" cxnId="{6CC3F915-289B-41CD-86DA-380FB1E0EFE9}">
      <dgm:prSet/>
      <dgm:spPr/>
      <dgm:t>
        <a:bodyPr/>
        <a:lstStyle/>
        <a:p>
          <a:endParaRPr lang="en-US"/>
        </a:p>
      </dgm:t>
    </dgm:pt>
    <dgm:pt modelId="{3FEAC43D-3904-4FAF-991B-FF3D246155BF}" type="sibTrans" cxnId="{6CC3F915-289B-41CD-86DA-380FB1E0EFE9}">
      <dgm:prSet/>
      <dgm:spPr/>
      <dgm:t>
        <a:bodyPr/>
        <a:lstStyle/>
        <a:p>
          <a:endParaRPr lang="en-US"/>
        </a:p>
      </dgm:t>
    </dgm:pt>
    <dgm:pt modelId="{1FDD56EB-F924-4EB8-9582-7858496D1F20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D1F2263C-4CBD-46E5-B998-FBA6FCCF7A62}" type="parTrans" cxnId="{0A69132D-A7A4-45B6-92F2-E426C1BDD6A8}">
      <dgm:prSet/>
      <dgm:spPr/>
      <dgm:t>
        <a:bodyPr/>
        <a:lstStyle/>
        <a:p>
          <a:endParaRPr lang="en-US"/>
        </a:p>
      </dgm:t>
    </dgm:pt>
    <dgm:pt modelId="{ADFD78EB-C571-43BD-BEDD-A6CB70C86A8F}" type="sibTrans" cxnId="{0A69132D-A7A4-45B6-92F2-E426C1BDD6A8}">
      <dgm:prSet/>
      <dgm:spPr/>
      <dgm:t>
        <a:bodyPr/>
        <a:lstStyle/>
        <a:p>
          <a:endParaRPr lang="en-US"/>
        </a:p>
      </dgm:t>
    </dgm:pt>
    <dgm:pt modelId="{ED77E14E-3672-4954-B04C-A4A504C7DBF4}" type="pres">
      <dgm:prSet presAssocID="{D1F0FBB3-FD9E-4E76-BE5D-E0972577AF32}" presName="Name0" presStyleCnt="0">
        <dgm:presLayoutVars>
          <dgm:dir/>
          <dgm:animLvl val="lvl"/>
          <dgm:resizeHandles val="exact"/>
        </dgm:presLayoutVars>
      </dgm:prSet>
      <dgm:spPr/>
    </dgm:pt>
    <dgm:pt modelId="{923C11B1-FB4D-4F75-9A0B-1F2769A54352}" type="pres">
      <dgm:prSet presAssocID="{2254EF7A-65E2-4EA4-B18B-4A040F5D99CF}" presName="linNode" presStyleCnt="0"/>
      <dgm:spPr/>
    </dgm:pt>
    <dgm:pt modelId="{60336ED3-DEE2-43CE-A4C5-B567996F53F6}" type="pres">
      <dgm:prSet presAssocID="{2254EF7A-65E2-4EA4-B18B-4A040F5D99CF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2D1071E1-A700-4E58-8E1E-F5BD1690547A}" type="pres">
      <dgm:prSet presAssocID="{2254EF7A-65E2-4EA4-B18B-4A040F5D99CF}" presName="descendantText" presStyleLbl="alignAccFollowNode1" presStyleIdx="0" presStyleCnt="3">
        <dgm:presLayoutVars>
          <dgm:bulletEnabled val="1"/>
        </dgm:presLayoutVars>
      </dgm:prSet>
      <dgm:spPr/>
    </dgm:pt>
    <dgm:pt modelId="{053C6CE5-911A-4EC7-8B63-3137B93EC28B}" type="pres">
      <dgm:prSet presAssocID="{334CB7A6-D257-4F0B-9831-E3E1F356E79A}" presName="sp" presStyleCnt="0"/>
      <dgm:spPr/>
    </dgm:pt>
    <dgm:pt modelId="{E2BBA56D-B1AD-4A6E-AB88-5BD14417576B}" type="pres">
      <dgm:prSet presAssocID="{07FFD755-1B0E-4F8D-AEB5-90B4928AD810}" presName="linNode" presStyleCnt="0"/>
      <dgm:spPr/>
    </dgm:pt>
    <dgm:pt modelId="{60040859-237B-4105-859A-34BB8D7073AA}" type="pres">
      <dgm:prSet presAssocID="{07FFD755-1B0E-4F8D-AEB5-90B4928AD810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A4711330-B206-4644-AA3D-E8BA935B965D}" type="pres">
      <dgm:prSet presAssocID="{07FFD755-1B0E-4F8D-AEB5-90B4928AD810}" presName="descendantText" presStyleLbl="alignAccFollowNode1" presStyleIdx="1" presStyleCnt="3">
        <dgm:presLayoutVars>
          <dgm:bulletEnabled val="1"/>
        </dgm:presLayoutVars>
      </dgm:prSet>
      <dgm:spPr/>
    </dgm:pt>
    <dgm:pt modelId="{FE4E3A3B-9B69-40CF-8004-2B8BD6B40A33}" type="pres">
      <dgm:prSet presAssocID="{021497CD-4B32-4A50-B195-1DAE3B4B0F24}" presName="sp" presStyleCnt="0"/>
      <dgm:spPr/>
    </dgm:pt>
    <dgm:pt modelId="{BD06F2B3-F874-4A20-AC27-1C5E8B319548}" type="pres">
      <dgm:prSet presAssocID="{8D4895DB-D39A-4677-B7EC-432FD374CDB8}" presName="linNode" presStyleCnt="0"/>
      <dgm:spPr/>
    </dgm:pt>
    <dgm:pt modelId="{D21524B7-5AFE-4AEE-9FDC-F59D9777F8D6}" type="pres">
      <dgm:prSet presAssocID="{8D4895DB-D39A-4677-B7EC-432FD374CDB8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1190774A-BD91-4A32-BC9A-4E4EBE2D071D}" type="pres">
      <dgm:prSet presAssocID="{8D4895DB-D39A-4677-B7EC-432FD374CDB8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41A9450B-71E7-4A9F-93CF-039C23490284}" srcId="{2254EF7A-65E2-4EA4-B18B-4A040F5D99CF}" destId="{FFD7BB73-F2DA-4AFF-9E5D-7BC1CB0067F6}" srcOrd="0" destOrd="0" parTransId="{8874C6BA-8F99-41CE-AE48-BBC19FE5E1D7}" sibTransId="{FFC34DCF-CF72-4073-B068-09D8DE0964B8}"/>
    <dgm:cxn modelId="{3E7EEC12-ABDA-4BDC-88D3-734510C9039C}" srcId="{D1F0FBB3-FD9E-4E76-BE5D-E0972577AF32}" destId="{2254EF7A-65E2-4EA4-B18B-4A040F5D99CF}" srcOrd="0" destOrd="0" parTransId="{BF32D34D-F951-4072-833B-8EE65A34514B}" sibTransId="{334CB7A6-D257-4F0B-9831-E3E1F356E79A}"/>
    <dgm:cxn modelId="{6CC3F915-289B-41CD-86DA-380FB1E0EFE9}" srcId="{8D4895DB-D39A-4677-B7EC-432FD374CDB8}" destId="{550BA126-DFF6-42C5-8012-E6F343F2C921}" srcOrd="0" destOrd="0" parTransId="{9D502190-078F-4EE1-A57D-B31FF4E8FB17}" sibTransId="{3FEAC43D-3904-4FAF-991B-FF3D246155BF}"/>
    <dgm:cxn modelId="{0A69132D-A7A4-45B6-92F2-E426C1BDD6A8}" srcId="{8D4895DB-D39A-4677-B7EC-432FD374CDB8}" destId="{1FDD56EB-F924-4EB8-9582-7858496D1F20}" srcOrd="1" destOrd="0" parTransId="{D1F2263C-4CBD-46E5-B998-FBA6FCCF7A62}" sibTransId="{ADFD78EB-C571-43BD-BEDD-A6CB70C86A8F}"/>
    <dgm:cxn modelId="{A04DA937-E84E-43E3-B2F8-4006C64FD9B2}" srcId="{D1F0FBB3-FD9E-4E76-BE5D-E0972577AF32}" destId="{07FFD755-1B0E-4F8D-AEB5-90B4928AD810}" srcOrd="1" destOrd="0" parTransId="{8D67B00B-2D5B-4302-ACC2-97A749ACC3C1}" sibTransId="{021497CD-4B32-4A50-B195-1DAE3B4B0F24}"/>
    <dgm:cxn modelId="{0783EF40-F111-4B0A-BF2B-88E7CF6390F2}" type="presOf" srcId="{38E8FF2A-FD96-4236-A4F0-07FB8EB9D772}" destId="{A4711330-B206-4644-AA3D-E8BA935B965D}" srcOrd="0" destOrd="1" presId="urn:microsoft.com/office/officeart/2005/8/layout/vList5"/>
    <dgm:cxn modelId="{8F578167-D78D-42C8-AB68-33BD88C1E649}" srcId="{2254EF7A-65E2-4EA4-B18B-4A040F5D99CF}" destId="{13AFA96F-2A1A-42B6-A360-E52F6BB1DC38}" srcOrd="1" destOrd="0" parTransId="{CC906602-1DDA-4D99-82A8-C834C0F3A5C6}" sibTransId="{6CF92FF4-B45A-4B14-9828-E5BFBE9F6758}"/>
    <dgm:cxn modelId="{CB1BD967-69E9-43DA-81BD-CE8A45CC0082}" type="presOf" srcId="{13AFA96F-2A1A-42B6-A360-E52F6BB1DC38}" destId="{2D1071E1-A700-4E58-8E1E-F5BD1690547A}" srcOrd="0" destOrd="1" presId="urn:microsoft.com/office/officeart/2005/8/layout/vList5"/>
    <dgm:cxn modelId="{2B8A934C-F851-4109-9B1A-2191ADFF3984}" type="presOf" srcId="{D1F0FBB3-FD9E-4E76-BE5D-E0972577AF32}" destId="{ED77E14E-3672-4954-B04C-A4A504C7DBF4}" srcOrd="0" destOrd="0" presId="urn:microsoft.com/office/officeart/2005/8/layout/vList5"/>
    <dgm:cxn modelId="{8C1FA775-BA96-4C5F-BEFE-B9E2FDBB494C}" srcId="{07FFD755-1B0E-4F8D-AEB5-90B4928AD810}" destId="{DBB64748-EE3E-47A6-8287-17E1197BFB95}" srcOrd="0" destOrd="0" parTransId="{8A2924AC-970F-4D5A-815D-E77889FF4D4D}" sibTransId="{1892E2B9-F210-47DE-B420-3D5A2D970550}"/>
    <dgm:cxn modelId="{ADA1DE84-521D-47FF-AE87-58DE8FC8E0D5}" type="presOf" srcId="{8D4895DB-D39A-4677-B7EC-432FD374CDB8}" destId="{D21524B7-5AFE-4AEE-9FDC-F59D9777F8D6}" srcOrd="0" destOrd="0" presId="urn:microsoft.com/office/officeart/2005/8/layout/vList5"/>
    <dgm:cxn modelId="{6FBE4186-FEC1-4DBD-8357-3E3AA1647384}" type="presOf" srcId="{2254EF7A-65E2-4EA4-B18B-4A040F5D99CF}" destId="{60336ED3-DEE2-43CE-A4C5-B567996F53F6}" srcOrd="0" destOrd="0" presId="urn:microsoft.com/office/officeart/2005/8/layout/vList5"/>
    <dgm:cxn modelId="{1B7ACDAA-44E1-4940-882C-02937BB64B7C}" type="presOf" srcId="{FFD7BB73-F2DA-4AFF-9E5D-7BC1CB0067F6}" destId="{2D1071E1-A700-4E58-8E1E-F5BD1690547A}" srcOrd="0" destOrd="0" presId="urn:microsoft.com/office/officeart/2005/8/layout/vList5"/>
    <dgm:cxn modelId="{9267A9AC-EA8A-4EE4-AEAE-E51F13C6CCF7}" type="presOf" srcId="{550BA126-DFF6-42C5-8012-E6F343F2C921}" destId="{1190774A-BD91-4A32-BC9A-4E4EBE2D071D}" srcOrd="0" destOrd="0" presId="urn:microsoft.com/office/officeart/2005/8/layout/vList5"/>
    <dgm:cxn modelId="{35075FB4-9530-4B25-92CE-E8F3C5D4C137}" srcId="{07FFD755-1B0E-4F8D-AEB5-90B4928AD810}" destId="{38E8FF2A-FD96-4236-A4F0-07FB8EB9D772}" srcOrd="1" destOrd="0" parTransId="{C08F865B-B533-4BEB-A715-9D6D2B770EB1}" sibTransId="{A0580464-DCC8-4886-81CF-1925A00D3FF0}"/>
    <dgm:cxn modelId="{4324E3CD-D65E-4689-B113-D32E479A8F83}" srcId="{D1F0FBB3-FD9E-4E76-BE5D-E0972577AF32}" destId="{8D4895DB-D39A-4677-B7EC-432FD374CDB8}" srcOrd="2" destOrd="0" parTransId="{4CFCC33E-67F3-42A0-AEC4-66BD43D0E5B1}" sibTransId="{48214A64-1DD0-4944-A19F-2E1F21C237DE}"/>
    <dgm:cxn modelId="{EAB93AD6-77AB-4411-BEFF-C33AD7257C30}" type="presOf" srcId="{DBB64748-EE3E-47A6-8287-17E1197BFB95}" destId="{A4711330-B206-4644-AA3D-E8BA935B965D}" srcOrd="0" destOrd="0" presId="urn:microsoft.com/office/officeart/2005/8/layout/vList5"/>
    <dgm:cxn modelId="{859B2CEF-FBA0-43AA-A1B5-331CDFC40664}" type="presOf" srcId="{1FDD56EB-F924-4EB8-9582-7858496D1F20}" destId="{1190774A-BD91-4A32-BC9A-4E4EBE2D071D}" srcOrd="0" destOrd="1" presId="urn:microsoft.com/office/officeart/2005/8/layout/vList5"/>
    <dgm:cxn modelId="{65FFD6FD-5226-4186-9530-D664FFF64DCF}" type="presOf" srcId="{07FFD755-1B0E-4F8D-AEB5-90B4928AD810}" destId="{60040859-237B-4105-859A-34BB8D7073AA}" srcOrd="0" destOrd="0" presId="urn:microsoft.com/office/officeart/2005/8/layout/vList5"/>
    <dgm:cxn modelId="{DDDFE9B3-AC78-4454-856C-DE07F86367C9}" type="presParOf" srcId="{ED77E14E-3672-4954-B04C-A4A504C7DBF4}" destId="{923C11B1-FB4D-4F75-9A0B-1F2769A54352}" srcOrd="0" destOrd="0" presId="urn:microsoft.com/office/officeart/2005/8/layout/vList5"/>
    <dgm:cxn modelId="{3D2A5E94-4C2B-4416-93D4-A67BA88193AF}" type="presParOf" srcId="{923C11B1-FB4D-4F75-9A0B-1F2769A54352}" destId="{60336ED3-DEE2-43CE-A4C5-B567996F53F6}" srcOrd="0" destOrd="0" presId="urn:microsoft.com/office/officeart/2005/8/layout/vList5"/>
    <dgm:cxn modelId="{61D0A696-49E4-4714-9359-9B9D911172EF}" type="presParOf" srcId="{923C11B1-FB4D-4F75-9A0B-1F2769A54352}" destId="{2D1071E1-A700-4E58-8E1E-F5BD1690547A}" srcOrd="1" destOrd="0" presId="urn:microsoft.com/office/officeart/2005/8/layout/vList5"/>
    <dgm:cxn modelId="{3F3EB85D-CCDB-4FAC-A29E-F7C93510D01F}" type="presParOf" srcId="{ED77E14E-3672-4954-B04C-A4A504C7DBF4}" destId="{053C6CE5-911A-4EC7-8B63-3137B93EC28B}" srcOrd="1" destOrd="0" presId="urn:microsoft.com/office/officeart/2005/8/layout/vList5"/>
    <dgm:cxn modelId="{5E51FFAC-D1EE-4304-987E-0F608BFF4B45}" type="presParOf" srcId="{ED77E14E-3672-4954-B04C-A4A504C7DBF4}" destId="{E2BBA56D-B1AD-4A6E-AB88-5BD14417576B}" srcOrd="2" destOrd="0" presId="urn:microsoft.com/office/officeart/2005/8/layout/vList5"/>
    <dgm:cxn modelId="{F06548FF-98D5-4EB4-AEB5-9FE78F9F0D01}" type="presParOf" srcId="{E2BBA56D-B1AD-4A6E-AB88-5BD14417576B}" destId="{60040859-237B-4105-859A-34BB8D7073AA}" srcOrd="0" destOrd="0" presId="urn:microsoft.com/office/officeart/2005/8/layout/vList5"/>
    <dgm:cxn modelId="{187B19F6-705E-4860-976A-1BEEDF810B61}" type="presParOf" srcId="{E2BBA56D-B1AD-4A6E-AB88-5BD14417576B}" destId="{A4711330-B206-4644-AA3D-E8BA935B965D}" srcOrd="1" destOrd="0" presId="urn:microsoft.com/office/officeart/2005/8/layout/vList5"/>
    <dgm:cxn modelId="{2A6A8964-C3C5-4B89-87E8-0A8623E59E68}" type="presParOf" srcId="{ED77E14E-3672-4954-B04C-A4A504C7DBF4}" destId="{FE4E3A3B-9B69-40CF-8004-2B8BD6B40A33}" srcOrd="3" destOrd="0" presId="urn:microsoft.com/office/officeart/2005/8/layout/vList5"/>
    <dgm:cxn modelId="{0F39F51F-753B-4A3A-9B0D-58383D84F3E3}" type="presParOf" srcId="{ED77E14E-3672-4954-B04C-A4A504C7DBF4}" destId="{BD06F2B3-F874-4A20-AC27-1C5E8B319548}" srcOrd="4" destOrd="0" presId="urn:microsoft.com/office/officeart/2005/8/layout/vList5"/>
    <dgm:cxn modelId="{FFBE88D3-2127-4F26-BA95-FF3FDE9DD917}" type="presParOf" srcId="{BD06F2B3-F874-4A20-AC27-1C5E8B319548}" destId="{D21524B7-5AFE-4AEE-9FDC-F59D9777F8D6}" srcOrd="0" destOrd="0" presId="urn:microsoft.com/office/officeart/2005/8/layout/vList5"/>
    <dgm:cxn modelId="{82690EAE-D52B-4F17-9916-C30BE0517201}" type="presParOf" srcId="{BD06F2B3-F874-4A20-AC27-1C5E8B319548}" destId="{1190774A-BD91-4A32-BC9A-4E4EBE2D071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1F0FBB3-FD9E-4E76-BE5D-E0972577AF32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2254EF7A-65E2-4EA4-B18B-4A040F5D99CF}">
      <dgm:prSet phldrT="[文本]" custT="1"/>
      <dgm:spPr/>
      <dgm:t>
        <a:bodyPr/>
        <a:lstStyle/>
        <a:p>
          <a:r>
            <a:rPr lang="en-US" altLang="zh-CN" sz="2800" dirty="0">
              <a:latin typeface="Century Gothic" panose="020B0502020202020204" pitchFamily="34" charset="0"/>
            </a:rPr>
            <a:t>EHS</a:t>
          </a:r>
          <a:endParaRPr lang="en-US" sz="2800" dirty="0">
            <a:latin typeface="Century Gothic" panose="020B0502020202020204" pitchFamily="34" charset="0"/>
          </a:endParaRPr>
        </a:p>
      </dgm:t>
    </dgm:pt>
    <dgm:pt modelId="{BF32D34D-F951-4072-833B-8EE65A34514B}" type="parTrans" cxnId="{3E7EEC12-ABDA-4BDC-88D3-734510C9039C}">
      <dgm:prSet/>
      <dgm:spPr/>
      <dgm:t>
        <a:bodyPr/>
        <a:lstStyle/>
        <a:p>
          <a:endParaRPr lang="en-US"/>
        </a:p>
      </dgm:t>
    </dgm:pt>
    <dgm:pt modelId="{334CB7A6-D257-4F0B-9831-E3E1F356E79A}" type="sibTrans" cxnId="{3E7EEC12-ABDA-4BDC-88D3-734510C9039C}">
      <dgm:prSet/>
      <dgm:spPr/>
      <dgm:t>
        <a:bodyPr/>
        <a:lstStyle/>
        <a:p>
          <a:endParaRPr lang="en-US"/>
        </a:p>
      </dgm:t>
    </dgm:pt>
    <dgm:pt modelId="{FFD7BB73-F2DA-4AFF-9E5D-7BC1CB0067F6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8874C6BA-8F99-41CE-AE48-BBC19FE5E1D7}" type="parTrans" cxnId="{41A9450B-71E7-4A9F-93CF-039C23490284}">
      <dgm:prSet/>
      <dgm:spPr/>
      <dgm:t>
        <a:bodyPr/>
        <a:lstStyle/>
        <a:p>
          <a:endParaRPr lang="en-US"/>
        </a:p>
      </dgm:t>
    </dgm:pt>
    <dgm:pt modelId="{FFC34DCF-CF72-4073-B068-09D8DE0964B8}" type="sibTrans" cxnId="{41A9450B-71E7-4A9F-93CF-039C23490284}">
      <dgm:prSet/>
      <dgm:spPr/>
      <dgm:t>
        <a:bodyPr/>
        <a:lstStyle/>
        <a:p>
          <a:endParaRPr lang="en-US"/>
        </a:p>
      </dgm:t>
    </dgm:pt>
    <dgm:pt modelId="{13AFA96F-2A1A-42B6-A360-E52F6BB1DC38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CC906602-1DDA-4D99-82A8-C834C0F3A5C6}" type="parTrans" cxnId="{8F578167-D78D-42C8-AB68-33BD88C1E649}">
      <dgm:prSet/>
      <dgm:spPr/>
      <dgm:t>
        <a:bodyPr/>
        <a:lstStyle/>
        <a:p>
          <a:endParaRPr lang="en-US"/>
        </a:p>
      </dgm:t>
    </dgm:pt>
    <dgm:pt modelId="{6CF92FF4-B45A-4B14-9828-E5BFBE9F6758}" type="sibTrans" cxnId="{8F578167-D78D-42C8-AB68-33BD88C1E649}">
      <dgm:prSet/>
      <dgm:spPr/>
      <dgm:t>
        <a:bodyPr/>
        <a:lstStyle/>
        <a:p>
          <a:endParaRPr lang="en-US"/>
        </a:p>
      </dgm:t>
    </dgm:pt>
    <dgm:pt modelId="{07FFD755-1B0E-4F8D-AEB5-90B4928AD810}">
      <dgm:prSet phldrT="[文本]" custT="1"/>
      <dgm:spPr/>
      <dgm:t>
        <a:bodyPr/>
        <a:lstStyle/>
        <a:p>
          <a:r>
            <a:rPr lang="en-US" altLang="zh-CN" sz="2800" dirty="0">
              <a:latin typeface="Century Gothic" panose="020B0502020202020204" pitchFamily="34" charset="0"/>
            </a:rPr>
            <a:t>Cost</a:t>
          </a:r>
          <a:endParaRPr lang="en-US" sz="2800" dirty="0">
            <a:latin typeface="Century Gothic" panose="020B0502020202020204" pitchFamily="34" charset="0"/>
          </a:endParaRPr>
        </a:p>
      </dgm:t>
    </dgm:pt>
    <dgm:pt modelId="{8D67B00B-2D5B-4302-ACC2-97A749ACC3C1}" type="parTrans" cxnId="{A04DA937-E84E-43E3-B2F8-4006C64FD9B2}">
      <dgm:prSet/>
      <dgm:spPr/>
      <dgm:t>
        <a:bodyPr/>
        <a:lstStyle/>
        <a:p>
          <a:endParaRPr lang="en-US"/>
        </a:p>
      </dgm:t>
    </dgm:pt>
    <dgm:pt modelId="{021497CD-4B32-4A50-B195-1DAE3B4B0F24}" type="sibTrans" cxnId="{A04DA937-E84E-43E3-B2F8-4006C64FD9B2}">
      <dgm:prSet/>
      <dgm:spPr/>
      <dgm:t>
        <a:bodyPr/>
        <a:lstStyle/>
        <a:p>
          <a:endParaRPr lang="en-US"/>
        </a:p>
      </dgm:t>
    </dgm:pt>
    <dgm:pt modelId="{DBB64748-EE3E-47A6-8287-17E1197BFB95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8A2924AC-970F-4D5A-815D-E77889FF4D4D}" type="parTrans" cxnId="{8C1FA775-BA96-4C5F-BEFE-B9E2FDBB494C}">
      <dgm:prSet/>
      <dgm:spPr/>
      <dgm:t>
        <a:bodyPr/>
        <a:lstStyle/>
        <a:p>
          <a:endParaRPr lang="en-US"/>
        </a:p>
      </dgm:t>
    </dgm:pt>
    <dgm:pt modelId="{1892E2B9-F210-47DE-B420-3D5A2D970550}" type="sibTrans" cxnId="{8C1FA775-BA96-4C5F-BEFE-B9E2FDBB494C}">
      <dgm:prSet/>
      <dgm:spPr/>
      <dgm:t>
        <a:bodyPr/>
        <a:lstStyle/>
        <a:p>
          <a:endParaRPr lang="en-US"/>
        </a:p>
      </dgm:t>
    </dgm:pt>
    <dgm:pt modelId="{38E8FF2A-FD96-4236-A4F0-07FB8EB9D772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C08F865B-B533-4BEB-A715-9D6D2B770EB1}" type="parTrans" cxnId="{35075FB4-9530-4B25-92CE-E8F3C5D4C137}">
      <dgm:prSet/>
      <dgm:spPr/>
      <dgm:t>
        <a:bodyPr/>
        <a:lstStyle/>
        <a:p>
          <a:endParaRPr lang="en-US"/>
        </a:p>
      </dgm:t>
    </dgm:pt>
    <dgm:pt modelId="{A0580464-DCC8-4886-81CF-1925A00D3FF0}" type="sibTrans" cxnId="{35075FB4-9530-4B25-92CE-E8F3C5D4C137}">
      <dgm:prSet/>
      <dgm:spPr/>
      <dgm:t>
        <a:bodyPr/>
        <a:lstStyle/>
        <a:p>
          <a:endParaRPr lang="en-US"/>
        </a:p>
      </dgm:t>
    </dgm:pt>
    <dgm:pt modelId="{8D4895DB-D39A-4677-B7EC-432FD374CDB8}">
      <dgm:prSet phldrT="[文本]" custT="1"/>
      <dgm:spPr/>
      <dgm:t>
        <a:bodyPr/>
        <a:lstStyle/>
        <a:p>
          <a:r>
            <a:rPr lang="en-US" altLang="zh-CN" sz="2800" dirty="0">
              <a:latin typeface="Century Gothic" panose="020B0502020202020204" pitchFamily="34" charset="0"/>
            </a:rPr>
            <a:t>FTE</a:t>
          </a:r>
          <a:endParaRPr lang="en-US" sz="2800" dirty="0">
            <a:latin typeface="Century Gothic" panose="020B0502020202020204" pitchFamily="34" charset="0"/>
          </a:endParaRPr>
        </a:p>
      </dgm:t>
    </dgm:pt>
    <dgm:pt modelId="{4CFCC33E-67F3-42A0-AEC4-66BD43D0E5B1}" type="parTrans" cxnId="{4324E3CD-D65E-4689-B113-D32E479A8F83}">
      <dgm:prSet/>
      <dgm:spPr/>
      <dgm:t>
        <a:bodyPr/>
        <a:lstStyle/>
        <a:p>
          <a:endParaRPr lang="en-US"/>
        </a:p>
      </dgm:t>
    </dgm:pt>
    <dgm:pt modelId="{48214A64-1DD0-4944-A19F-2E1F21C237DE}" type="sibTrans" cxnId="{4324E3CD-D65E-4689-B113-D32E479A8F83}">
      <dgm:prSet/>
      <dgm:spPr/>
      <dgm:t>
        <a:bodyPr/>
        <a:lstStyle/>
        <a:p>
          <a:endParaRPr lang="en-US"/>
        </a:p>
      </dgm:t>
    </dgm:pt>
    <dgm:pt modelId="{550BA126-DFF6-42C5-8012-E6F343F2C921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9D502190-078F-4EE1-A57D-B31FF4E8FB17}" type="parTrans" cxnId="{6CC3F915-289B-41CD-86DA-380FB1E0EFE9}">
      <dgm:prSet/>
      <dgm:spPr/>
      <dgm:t>
        <a:bodyPr/>
        <a:lstStyle/>
        <a:p>
          <a:endParaRPr lang="en-US"/>
        </a:p>
      </dgm:t>
    </dgm:pt>
    <dgm:pt modelId="{3FEAC43D-3904-4FAF-991B-FF3D246155BF}" type="sibTrans" cxnId="{6CC3F915-289B-41CD-86DA-380FB1E0EFE9}">
      <dgm:prSet/>
      <dgm:spPr/>
      <dgm:t>
        <a:bodyPr/>
        <a:lstStyle/>
        <a:p>
          <a:endParaRPr lang="en-US"/>
        </a:p>
      </dgm:t>
    </dgm:pt>
    <dgm:pt modelId="{1FDD56EB-F924-4EB8-9582-7858496D1F20}">
      <dgm:prSet phldrT="[文本]" phldr="1"/>
      <dgm:spPr/>
      <dgm:t>
        <a:bodyPr/>
        <a:lstStyle/>
        <a:p>
          <a:endParaRPr lang="en-US" dirty="0">
            <a:latin typeface="Century Gothic" panose="020B0502020202020204" pitchFamily="34" charset="0"/>
          </a:endParaRPr>
        </a:p>
      </dgm:t>
    </dgm:pt>
    <dgm:pt modelId="{D1F2263C-4CBD-46E5-B998-FBA6FCCF7A62}" type="parTrans" cxnId="{0A69132D-A7A4-45B6-92F2-E426C1BDD6A8}">
      <dgm:prSet/>
      <dgm:spPr/>
      <dgm:t>
        <a:bodyPr/>
        <a:lstStyle/>
        <a:p>
          <a:endParaRPr lang="en-US"/>
        </a:p>
      </dgm:t>
    </dgm:pt>
    <dgm:pt modelId="{ADFD78EB-C571-43BD-BEDD-A6CB70C86A8F}" type="sibTrans" cxnId="{0A69132D-A7A4-45B6-92F2-E426C1BDD6A8}">
      <dgm:prSet/>
      <dgm:spPr/>
      <dgm:t>
        <a:bodyPr/>
        <a:lstStyle/>
        <a:p>
          <a:endParaRPr lang="en-US"/>
        </a:p>
      </dgm:t>
    </dgm:pt>
    <dgm:pt modelId="{ED77E14E-3672-4954-B04C-A4A504C7DBF4}" type="pres">
      <dgm:prSet presAssocID="{D1F0FBB3-FD9E-4E76-BE5D-E0972577AF32}" presName="Name0" presStyleCnt="0">
        <dgm:presLayoutVars>
          <dgm:dir/>
          <dgm:animLvl val="lvl"/>
          <dgm:resizeHandles val="exact"/>
        </dgm:presLayoutVars>
      </dgm:prSet>
      <dgm:spPr/>
    </dgm:pt>
    <dgm:pt modelId="{923C11B1-FB4D-4F75-9A0B-1F2769A54352}" type="pres">
      <dgm:prSet presAssocID="{2254EF7A-65E2-4EA4-B18B-4A040F5D99CF}" presName="linNode" presStyleCnt="0"/>
      <dgm:spPr/>
    </dgm:pt>
    <dgm:pt modelId="{60336ED3-DEE2-43CE-A4C5-B567996F53F6}" type="pres">
      <dgm:prSet presAssocID="{2254EF7A-65E2-4EA4-B18B-4A040F5D99CF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2D1071E1-A700-4E58-8E1E-F5BD1690547A}" type="pres">
      <dgm:prSet presAssocID="{2254EF7A-65E2-4EA4-B18B-4A040F5D99CF}" presName="descendantText" presStyleLbl="alignAccFollowNode1" presStyleIdx="0" presStyleCnt="3">
        <dgm:presLayoutVars>
          <dgm:bulletEnabled val="1"/>
        </dgm:presLayoutVars>
      </dgm:prSet>
      <dgm:spPr/>
    </dgm:pt>
    <dgm:pt modelId="{053C6CE5-911A-4EC7-8B63-3137B93EC28B}" type="pres">
      <dgm:prSet presAssocID="{334CB7A6-D257-4F0B-9831-E3E1F356E79A}" presName="sp" presStyleCnt="0"/>
      <dgm:spPr/>
    </dgm:pt>
    <dgm:pt modelId="{E2BBA56D-B1AD-4A6E-AB88-5BD14417576B}" type="pres">
      <dgm:prSet presAssocID="{07FFD755-1B0E-4F8D-AEB5-90B4928AD810}" presName="linNode" presStyleCnt="0"/>
      <dgm:spPr/>
    </dgm:pt>
    <dgm:pt modelId="{60040859-237B-4105-859A-34BB8D7073AA}" type="pres">
      <dgm:prSet presAssocID="{07FFD755-1B0E-4F8D-AEB5-90B4928AD810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A4711330-B206-4644-AA3D-E8BA935B965D}" type="pres">
      <dgm:prSet presAssocID="{07FFD755-1B0E-4F8D-AEB5-90B4928AD810}" presName="descendantText" presStyleLbl="alignAccFollowNode1" presStyleIdx="1" presStyleCnt="3">
        <dgm:presLayoutVars>
          <dgm:bulletEnabled val="1"/>
        </dgm:presLayoutVars>
      </dgm:prSet>
      <dgm:spPr/>
    </dgm:pt>
    <dgm:pt modelId="{FE4E3A3B-9B69-40CF-8004-2B8BD6B40A33}" type="pres">
      <dgm:prSet presAssocID="{021497CD-4B32-4A50-B195-1DAE3B4B0F24}" presName="sp" presStyleCnt="0"/>
      <dgm:spPr/>
    </dgm:pt>
    <dgm:pt modelId="{BD06F2B3-F874-4A20-AC27-1C5E8B319548}" type="pres">
      <dgm:prSet presAssocID="{8D4895DB-D39A-4677-B7EC-432FD374CDB8}" presName="linNode" presStyleCnt="0"/>
      <dgm:spPr/>
    </dgm:pt>
    <dgm:pt modelId="{D21524B7-5AFE-4AEE-9FDC-F59D9777F8D6}" type="pres">
      <dgm:prSet presAssocID="{8D4895DB-D39A-4677-B7EC-432FD374CDB8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1190774A-BD91-4A32-BC9A-4E4EBE2D071D}" type="pres">
      <dgm:prSet presAssocID="{8D4895DB-D39A-4677-B7EC-432FD374CDB8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41A9450B-71E7-4A9F-93CF-039C23490284}" srcId="{2254EF7A-65E2-4EA4-B18B-4A040F5D99CF}" destId="{FFD7BB73-F2DA-4AFF-9E5D-7BC1CB0067F6}" srcOrd="0" destOrd="0" parTransId="{8874C6BA-8F99-41CE-AE48-BBC19FE5E1D7}" sibTransId="{FFC34DCF-CF72-4073-B068-09D8DE0964B8}"/>
    <dgm:cxn modelId="{3E7EEC12-ABDA-4BDC-88D3-734510C9039C}" srcId="{D1F0FBB3-FD9E-4E76-BE5D-E0972577AF32}" destId="{2254EF7A-65E2-4EA4-B18B-4A040F5D99CF}" srcOrd="0" destOrd="0" parTransId="{BF32D34D-F951-4072-833B-8EE65A34514B}" sibTransId="{334CB7A6-D257-4F0B-9831-E3E1F356E79A}"/>
    <dgm:cxn modelId="{6CC3F915-289B-41CD-86DA-380FB1E0EFE9}" srcId="{8D4895DB-D39A-4677-B7EC-432FD374CDB8}" destId="{550BA126-DFF6-42C5-8012-E6F343F2C921}" srcOrd="0" destOrd="0" parTransId="{9D502190-078F-4EE1-A57D-B31FF4E8FB17}" sibTransId="{3FEAC43D-3904-4FAF-991B-FF3D246155BF}"/>
    <dgm:cxn modelId="{0A69132D-A7A4-45B6-92F2-E426C1BDD6A8}" srcId="{8D4895DB-D39A-4677-B7EC-432FD374CDB8}" destId="{1FDD56EB-F924-4EB8-9582-7858496D1F20}" srcOrd="1" destOrd="0" parTransId="{D1F2263C-4CBD-46E5-B998-FBA6FCCF7A62}" sibTransId="{ADFD78EB-C571-43BD-BEDD-A6CB70C86A8F}"/>
    <dgm:cxn modelId="{A04DA937-E84E-43E3-B2F8-4006C64FD9B2}" srcId="{D1F0FBB3-FD9E-4E76-BE5D-E0972577AF32}" destId="{07FFD755-1B0E-4F8D-AEB5-90B4928AD810}" srcOrd="1" destOrd="0" parTransId="{8D67B00B-2D5B-4302-ACC2-97A749ACC3C1}" sibTransId="{021497CD-4B32-4A50-B195-1DAE3B4B0F24}"/>
    <dgm:cxn modelId="{0783EF40-F111-4B0A-BF2B-88E7CF6390F2}" type="presOf" srcId="{38E8FF2A-FD96-4236-A4F0-07FB8EB9D772}" destId="{A4711330-B206-4644-AA3D-E8BA935B965D}" srcOrd="0" destOrd="1" presId="urn:microsoft.com/office/officeart/2005/8/layout/vList5"/>
    <dgm:cxn modelId="{8F578167-D78D-42C8-AB68-33BD88C1E649}" srcId="{2254EF7A-65E2-4EA4-B18B-4A040F5D99CF}" destId="{13AFA96F-2A1A-42B6-A360-E52F6BB1DC38}" srcOrd="1" destOrd="0" parTransId="{CC906602-1DDA-4D99-82A8-C834C0F3A5C6}" sibTransId="{6CF92FF4-B45A-4B14-9828-E5BFBE9F6758}"/>
    <dgm:cxn modelId="{CB1BD967-69E9-43DA-81BD-CE8A45CC0082}" type="presOf" srcId="{13AFA96F-2A1A-42B6-A360-E52F6BB1DC38}" destId="{2D1071E1-A700-4E58-8E1E-F5BD1690547A}" srcOrd="0" destOrd="1" presId="urn:microsoft.com/office/officeart/2005/8/layout/vList5"/>
    <dgm:cxn modelId="{2B8A934C-F851-4109-9B1A-2191ADFF3984}" type="presOf" srcId="{D1F0FBB3-FD9E-4E76-BE5D-E0972577AF32}" destId="{ED77E14E-3672-4954-B04C-A4A504C7DBF4}" srcOrd="0" destOrd="0" presId="urn:microsoft.com/office/officeart/2005/8/layout/vList5"/>
    <dgm:cxn modelId="{8C1FA775-BA96-4C5F-BEFE-B9E2FDBB494C}" srcId="{07FFD755-1B0E-4F8D-AEB5-90B4928AD810}" destId="{DBB64748-EE3E-47A6-8287-17E1197BFB95}" srcOrd="0" destOrd="0" parTransId="{8A2924AC-970F-4D5A-815D-E77889FF4D4D}" sibTransId="{1892E2B9-F210-47DE-B420-3D5A2D970550}"/>
    <dgm:cxn modelId="{ADA1DE84-521D-47FF-AE87-58DE8FC8E0D5}" type="presOf" srcId="{8D4895DB-D39A-4677-B7EC-432FD374CDB8}" destId="{D21524B7-5AFE-4AEE-9FDC-F59D9777F8D6}" srcOrd="0" destOrd="0" presId="urn:microsoft.com/office/officeart/2005/8/layout/vList5"/>
    <dgm:cxn modelId="{6FBE4186-FEC1-4DBD-8357-3E3AA1647384}" type="presOf" srcId="{2254EF7A-65E2-4EA4-B18B-4A040F5D99CF}" destId="{60336ED3-DEE2-43CE-A4C5-B567996F53F6}" srcOrd="0" destOrd="0" presId="urn:microsoft.com/office/officeart/2005/8/layout/vList5"/>
    <dgm:cxn modelId="{1B7ACDAA-44E1-4940-882C-02937BB64B7C}" type="presOf" srcId="{FFD7BB73-F2DA-4AFF-9E5D-7BC1CB0067F6}" destId="{2D1071E1-A700-4E58-8E1E-F5BD1690547A}" srcOrd="0" destOrd="0" presId="urn:microsoft.com/office/officeart/2005/8/layout/vList5"/>
    <dgm:cxn modelId="{9267A9AC-EA8A-4EE4-AEAE-E51F13C6CCF7}" type="presOf" srcId="{550BA126-DFF6-42C5-8012-E6F343F2C921}" destId="{1190774A-BD91-4A32-BC9A-4E4EBE2D071D}" srcOrd="0" destOrd="0" presId="urn:microsoft.com/office/officeart/2005/8/layout/vList5"/>
    <dgm:cxn modelId="{35075FB4-9530-4B25-92CE-E8F3C5D4C137}" srcId="{07FFD755-1B0E-4F8D-AEB5-90B4928AD810}" destId="{38E8FF2A-FD96-4236-A4F0-07FB8EB9D772}" srcOrd="1" destOrd="0" parTransId="{C08F865B-B533-4BEB-A715-9D6D2B770EB1}" sibTransId="{A0580464-DCC8-4886-81CF-1925A00D3FF0}"/>
    <dgm:cxn modelId="{4324E3CD-D65E-4689-B113-D32E479A8F83}" srcId="{D1F0FBB3-FD9E-4E76-BE5D-E0972577AF32}" destId="{8D4895DB-D39A-4677-B7EC-432FD374CDB8}" srcOrd="2" destOrd="0" parTransId="{4CFCC33E-67F3-42A0-AEC4-66BD43D0E5B1}" sibTransId="{48214A64-1DD0-4944-A19F-2E1F21C237DE}"/>
    <dgm:cxn modelId="{EAB93AD6-77AB-4411-BEFF-C33AD7257C30}" type="presOf" srcId="{DBB64748-EE3E-47A6-8287-17E1197BFB95}" destId="{A4711330-B206-4644-AA3D-E8BA935B965D}" srcOrd="0" destOrd="0" presId="urn:microsoft.com/office/officeart/2005/8/layout/vList5"/>
    <dgm:cxn modelId="{859B2CEF-FBA0-43AA-A1B5-331CDFC40664}" type="presOf" srcId="{1FDD56EB-F924-4EB8-9582-7858496D1F20}" destId="{1190774A-BD91-4A32-BC9A-4E4EBE2D071D}" srcOrd="0" destOrd="1" presId="urn:microsoft.com/office/officeart/2005/8/layout/vList5"/>
    <dgm:cxn modelId="{65FFD6FD-5226-4186-9530-D664FFF64DCF}" type="presOf" srcId="{07FFD755-1B0E-4F8D-AEB5-90B4928AD810}" destId="{60040859-237B-4105-859A-34BB8D7073AA}" srcOrd="0" destOrd="0" presId="urn:microsoft.com/office/officeart/2005/8/layout/vList5"/>
    <dgm:cxn modelId="{DDDFE9B3-AC78-4454-856C-DE07F86367C9}" type="presParOf" srcId="{ED77E14E-3672-4954-B04C-A4A504C7DBF4}" destId="{923C11B1-FB4D-4F75-9A0B-1F2769A54352}" srcOrd="0" destOrd="0" presId="urn:microsoft.com/office/officeart/2005/8/layout/vList5"/>
    <dgm:cxn modelId="{3D2A5E94-4C2B-4416-93D4-A67BA88193AF}" type="presParOf" srcId="{923C11B1-FB4D-4F75-9A0B-1F2769A54352}" destId="{60336ED3-DEE2-43CE-A4C5-B567996F53F6}" srcOrd="0" destOrd="0" presId="urn:microsoft.com/office/officeart/2005/8/layout/vList5"/>
    <dgm:cxn modelId="{61D0A696-49E4-4714-9359-9B9D911172EF}" type="presParOf" srcId="{923C11B1-FB4D-4F75-9A0B-1F2769A54352}" destId="{2D1071E1-A700-4E58-8E1E-F5BD1690547A}" srcOrd="1" destOrd="0" presId="urn:microsoft.com/office/officeart/2005/8/layout/vList5"/>
    <dgm:cxn modelId="{3F3EB85D-CCDB-4FAC-A29E-F7C93510D01F}" type="presParOf" srcId="{ED77E14E-3672-4954-B04C-A4A504C7DBF4}" destId="{053C6CE5-911A-4EC7-8B63-3137B93EC28B}" srcOrd="1" destOrd="0" presId="urn:microsoft.com/office/officeart/2005/8/layout/vList5"/>
    <dgm:cxn modelId="{5E51FFAC-D1EE-4304-987E-0F608BFF4B45}" type="presParOf" srcId="{ED77E14E-3672-4954-B04C-A4A504C7DBF4}" destId="{E2BBA56D-B1AD-4A6E-AB88-5BD14417576B}" srcOrd="2" destOrd="0" presId="urn:microsoft.com/office/officeart/2005/8/layout/vList5"/>
    <dgm:cxn modelId="{F06548FF-98D5-4EB4-AEB5-9FE78F9F0D01}" type="presParOf" srcId="{E2BBA56D-B1AD-4A6E-AB88-5BD14417576B}" destId="{60040859-237B-4105-859A-34BB8D7073AA}" srcOrd="0" destOrd="0" presId="urn:microsoft.com/office/officeart/2005/8/layout/vList5"/>
    <dgm:cxn modelId="{187B19F6-705E-4860-976A-1BEEDF810B61}" type="presParOf" srcId="{E2BBA56D-B1AD-4A6E-AB88-5BD14417576B}" destId="{A4711330-B206-4644-AA3D-E8BA935B965D}" srcOrd="1" destOrd="0" presId="urn:microsoft.com/office/officeart/2005/8/layout/vList5"/>
    <dgm:cxn modelId="{2A6A8964-C3C5-4B89-87E8-0A8623E59E68}" type="presParOf" srcId="{ED77E14E-3672-4954-B04C-A4A504C7DBF4}" destId="{FE4E3A3B-9B69-40CF-8004-2B8BD6B40A33}" srcOrd="3" destOrd="0" presId="urn:microsoft.com/office/officeart/2005/8/layout/vList5"/>
    <dgm:cxn modelId="{0F39F51F-753B-4A3A-9B0D-58383D84F3E3}" type="presParOf" srcId="{ED77E14E-3672-4954-B04C-A4A504C7DBF4}" destId="{BD06F2B3-F874-4A20-AC27-1C5E8B319548}" srcOrd="4" destOrd="0" presId="urn:microsoft.com/office/officeart/2005/8/layout/vList5"/>
    <dgm:cxn modelId="{FFBE88D3-2127-4F26-BA95-FF3FDE9DD917}" type="presParOf" srcId="{BD06F2B3-F874-4A20-AC27-1C5E8B319548}" destId="{D21524B7-5AFE-4AEE-9FDC-F59D9777F8D6}" srcOrd="0" destOrd="0" presId="urn:microsoft.com/office/officeart/2005/8/layout/vList5"/>
    <dgm:cxn modelId="{82690EAE-D52B-4F17-9916-C30BE0517201}" type="presParOf" srcId="{BD06F2B3-F874-4A20-AC27-1C5E8B319548}" destId="{1190774A-BD91-4A32-BC9A-4E4EBE2D071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1071E1-A700-4E58-8E1E-F5BD1690547A}">
      <dsp:nvSpPr>
        <dsp:cNvPr id="0" name=""/>
        <dsp:cNvSpPr/>
      </dsp:nvSpPr>
      <dsp:spPr>
        <a:xfrm rot="5400000">
          <a:off x="2182266" y="-809234"/>
          <a:ext cx="555962" cy="2315527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</dsp:txBody>
      <dsp:txXfrm rot="-5400000">
        <a:off x="1302484" y="97688"/>
        <a:ext cx="2288387" cy="501682"/>
      </dsp:txXfrm>
    </dsp:sp>
    <dsp:sp modelId="{60336ED3-DEE2-43CE-A4C5-B567996F53F6}">
      <dsp:nvSpPr>
        <dsp:cNvPr id="0" name=""/>
        <dsp:cNvSpPr/>
      </dsp:nvSpPr>
      <dsp:spPr>
        <a:xfrm>
          <a:off x="0" y="1052"/>
          <a:ext cx="1302484" cy="694952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800" kern="1200" dirty="0">
              <a:latin typeface="Century Gothic" panose="020B0502020202020204" pitchFamily="34" charset="0"/>
            </a:rPr>
            <a:t>EHS</a:t>
          </a:r>
          <a:endParaRPr lang="en-US" sz="2800" kern="1200" dirty="0">
            <a:latin typeface="Century Gothic" panose="020B0502020202020204" pitchFamily="34" charset="0"/>
          </a:endParaRPr>
        </a:p>
      </dsp:txBody>
      <dsp:txXfrm>
        <a:off x="33925" y="34977"/>
        <a:ext cx="1234634" cy="627102"/>
      </dsp:txXfrm>
    </dsp:sp>
    <dsp:sp modelId="{A4711330-B206-4644-AA3D-E8BA935B965D}">
      <dsp:nvSpPr>
        <dsp:cNvPr id="0" name=""/>
        <dsp:cNvSpPr/>
      </dsp:nvSpPr>
      <dsp:spPr>
        <a:xfrm rot="5400000">
          <a:off x="2182266" y="-79533"/>
          <a:ext cx="555962" cy="2315527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</dsp:txBody>
      <dsp:txXfrm rot="-5400000">
        <a:off x="1302484" y="827389"/>
        <a:ext cx="2288387" cy="501682"/>
      </dsp:txXfrm>
    </dsp:sp>
    <dsp:sp modelId="{60040859-237B-4105-859A-34BB8D7073AA}">
      <dsp:nvSpPr>
        <dsp:cNvPr id="0" name=""/>
        <dsp:cNvSpPr/>
      </dsp:nvSpPr>
      <dsp:spPr>
        <a:xfrm>
          <a:off x="0" y="730753"/>
          <a:ext cx="1302484" cy="69495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800" kern="1200" dirty="0">
              <a:latin typeface="Century Gothic" panose="020B0502020202020204" pitchFamily="34" charset="0"/>
            </a:rPr>
            <a:t>Cost</a:t>
          </a:r>
          <a:endParaRPr lang="en-US" sz="2800" kern="1200" dirty="0">
            <a:latin typeface="Century Gothic" panose="020B0502020202020204" pitchFamily="34" charset="0"/>
          </a:endParaRPr>
        </a:p>
      </dsp:txBody>
      <dsp:txXfrm>
        <a:off x="33925" y="764678"/>
        <a:ext cx="1234634" cy="627102"/>
      </dsp:txXfrm>
    </dsp:sp>
    <dsp:sp modelId="{1190774A-BD91-4A32-BC9A-4E4EBE2D071D}">
      <dsp:nvSpPr>
        <dsp:cNvPr id="0" name=""/>
        <dsp:cNvSpPr/>
      </dsp:nvSpPr>
      <dsp:spPr>
        <a:xfrm rot="5400000">
          <a:off x="2182266" y="650166"/>
          <a:ext cx="555962" cy="2315527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</dsp:txBody>
      <dsp:txXfrm rot="-5400000">
        <a:off x="1302484" y="1557088"/>
        <a:ext cx="2288387" cy="501682"/>
      </dsp:txXfrm>
    </dsp:sp>
    <dsp:sp modelId="{D21524B7-5AFE-4AEE-9FDC-F59D9777F8D6}">
      <dsp:nvSpPr>
        <dsp:cNvPr id="0" name=""/>
        <dsp:cNvSpPr/>
      </dsp:nvSpPr>
      <dsp:spPr>
        <a:xfrm>
          <a:off x="0" y="1460454"/>
          <a:ext cx="1302484" cy="69495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800" kern="1200" dirty="0">
              <a:latin typeface="Century Gothic" panose="020B0502020202020204" pitchFamily="34" charset="0"/>
            </a:rPr>
            <a:t>FTE</a:t>
          </a:r>
          <a:endParaRPr lang="en-US" sz="2800" kern="1200" dirty="0">
            <a:latin typeface="Century Gothic" panose="020B0502020202020204" pitchFamily="34" charset="0"/>
          </a:endParaRPr>
        </a:p>
      </dsp:txBody>
      <dsp:txXfrm>
        <a:off x="33925" y="1494379"/>
        <a:ext cx="1234634" cy="6271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1071E1-A700-4E58-8E1E-F5BD1690547A}">
      <dsp:nvSpPr>
        <dsp:cNvPr id="0" name=""/>
        <dsp:cNvSpPr/>
      </dsp:nvSpPr>
      <dsp:spPr>
        <a:xfrm rot="5400000">
          <a:off x="2182266" y="-809234"/>
          <a:ext cx="555962" cy="2315527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</dsp:txBody>
      <dsp:txXfrm rot="-5400000">
        <a:off x="1302484" y="97688"/>
        <a:ext cx="2288387" cy="501682"/>
      </dsp:txXfrm>
    </dsp:sp>
    <dsp:sp modelId="{60336ED3-DEE2-43CE-A4C5-B567996F53F6}">
      <dsp:nvSpPr>
        <dsp:cNvPr id="0" name=""/>
        <dsp:cNvSpPr/>
      </dsp:nvSpPr>
      <dsp:spPr>
        <a:xfrm>
          <a:off x="0" y="1052"/>
          <a:ext cx="1302484" cy="69495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800" kern="1200" dirty="0">
              <a:latin typeface="Century Gothic" panose="020B0502020202020204" pitchFamily="34" charset="0"/>
            </a:rPr>
            <a:t>EHS</a:t>
          </a:r>
          <a:endParaRPr lang="en-US" sz="2800" kern="1200" dirty="0">
            <a:latin typeface="Century Gothic" panose="020B0502020202020204" pitchFamily="34" charset="0"/>
          </a:endParaRPr>
        </a:p>
      </dsp:txBody>
      <dsp:txXfrm>
        <a:off x="33925" y="34977"/>
        <a:ext cx="1234634" cy="627102"/>
      </dsp:txXfrm>
    </dsp:sp>
    <dsp:sp modelId="{A4711330-B206-4644-AA3D-E8BA935B965D}">
      <dsp:nvSpPr>
        <dsp:cNvPr id="0" name=""/>
        <dsp:cNvSpPr/>
      </dsp:nvSpPr>
      <dsp:spPr>
        <a:xfrm rot="5400000">
          <a:off x="2182266" y="-79533"/>
          <a:ext cx="555962" cy="2315527"/>
        </a:xfrm>
        <a:prstGeom prst="round2SameRect">
          <a:avLst/>
        </a:prstGeom>
        <a:solidFill>
          <a:schemeClr val="accent4">
            <a:tint val="40000"/>
            <a:alpha val="90000"/>
            <a:hueOff val="2770936"/>
            <a:satOff val="-1124"/>
            <a:lumOff val="-12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2770936"/>
              <a:satOff val="-1124"/>
              <a:lumOff val="-12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</dsp:txBody>
      <dsp:txXfrm rot="-5400000">
        <a:off x="1302484" y="827389"/>
        <a:ext cx="2288387" cy="501682"/>
      </dsp:txXfrm>
    </dsp:sp>
    <dsp:sp modelId="{60040859-237B-4105-859A-34BB8D7073AA}">
      <dsp:nvSpPr>
        <dsp:cNvPr id="0" name=""/>
        <dsp:cNvSpPr/>
      </dsp:nvSpPr>
      <dsp:spPr>
        <a:xfrm>
          <a:off x="0" y="730753"/>
          <a:ext cx="1302484" cy="694952"/>
        </a:xfrm>
        <a:prstGeom prst="roundRect">
          <a:avLst/>
        </a:prstGeom>
        <a:solidFill>
          <a:schemeClr val="accent4">
            <a:hueOff val="1870509"/>
            <a:satOff val="0"/>
            <a:lumOff val="-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800" kern="1200" dirty="0">
              <a:latin typeface="Century Gothic" panose="020B0502020202020204" pitchFamily="34" charset="0"/>
            </a:rPr>
            <a:t>Cost</a:t>
          </a:r>
          <a:endParaRPr lang="en-US" sz="2800" kern="1200" dirty="0">
            <a:latin typeface="Century Gothic" panose="020B0502020202020204" pitchFamily="34" charset="0"/>
          </a:endParaRPr>
        </a:p>
      </dsp:txBody>
      <dsp:txXfrm>
        <a:off x="33925" y="764678"/>
        <a:ext cx="1234634" cy="627102"/>
      </dsp:txXfrm>
    </dsp:sp>
    <dsp:sp modelId="{1190774A-BD91-4A32-BC9A-4E4EBE2D071D}">
      <dsp:nvSpPr>
        <dsp:cNvPr id="0" name=""/>
        <dsp:cNvSpPr/>
      </dsp:nvSpPr>
      <dsp:spPr>
        <a:xfrm rot="5400000">
          <a:off x="2182266" y="650166"/>
          <a:ext cx="555962" cy="2315527"/>
        </a:xfrm>
        <a:prstGeom prst="round2SameRect">
          <a:avLst/>
        </a:prstGeom>
        <a:solidFill>
          <a:schemeClr val="accent4">
            <a:tint val="40000"/>
            <a:alpha val="90000"/>
            <a:hueOff val="5541871"/>
            <a:satOff val="-2248"/>
            <a:lumOff val="-24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5541871"/>
              <a:satOff val="-2248"/>
              <a:lumOff val="-24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00" kern="1200" dirty="0">
            <a:latin typeface="Century Gothic" panose="020B0502020202020204" pitchFamily="34" charset="0"/>
          </a:endParaRPr>
        </a:p>
      </dsp:txBody>
      <dsp:txXfrm rot="-5400000">
        <a:off x="1302484" y="1557088"/>
        <a:ext cx="2288387" cy="501682"/>
      </dsp:txXfrm>
    </dsp:sp>
    <dsp:sp modelId="{D21524B7-5AFE-4AEE-9FDC-F59D9777F8D6}">
      <dsp:nvSpPr>
        <dsp:cNvPr id="0" name=""/>
        <dsp:cNvSpPr/>
      </dsp:nvSpPr>
      <dsp:spPr>
        <a:xfrm>
          <a:off x="0" y="1460454"/>
          <a:ext cx="1302484" cy="694952"/>
        </a:xfrm>
        <a:prstGeom prst="roundRect">
          <a:avLst/>
        </a:prstGeom>
        <a:solidFill>
          <a:schemeClr val="accent4">
            <a:hueOff val="3741018"/>
            <a:satOff val="0"/>
            <a:lumOff val="-78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800" kern="1200" dirty="0">
              <a:latin typeface="Century Gothic" panose="020B0502020202020204" pitchFamily="34" charset="0"/>
            </a:rPr>
            <a:t>FTE</a:t>
          </a:r>
          <a:endParaRPr lang="en-US" sz="2800" kern="1200" dirty="0">
            <a:latin typeface="Century Gothic" panose="020B0502020202020204" pitchFamily="34" charset="0"/>
          </a:endParaRPr>
        </a:p>
      </dsp:txBody>
      <dsp:txXfrm>
        <a:off x="33925" y="1494379"/>
        <a:ext cx="1234634" cy="6271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29D88-685E-574A-819D-76FD4994FA6C}" type="datetimeFigureOut">
              <a:rPr lang="en-US" smtClean="0"/>
              <a:t>7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1EEC7E-7E49-5D41-A9EC-02FC8CA937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968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0F3009-D3C3-4163-A41B-F214C387F522}" type="datetimeFigureOut">
              <a:rPr lang="en-GB" smtClean="0"/>
              <a:t>14/07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864822-9A8D-43BE-9D90-9E1B34FBAC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0616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94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89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84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578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472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67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61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56" algn="l" defTabSz="68578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864822-9A8D-43BE-9D90-9E1B34FBAC4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989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864822-9A8D-43BE-9D90-9E1B34FBAC4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5704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53100" y="1066800"/>
            <a:ext cx="7238700" cy="767953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lid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4286" y="1834754"/>
            <a:ext cx="7237514" cy="737592"/>
          </a:xfrm>
        </p:spPr>
        <p:txBody>
          <a:bodyPr/>
          <a:lstStyle>
            <a:lvl1pPr marL="0" indent="0" algn="l">
              <a:lnSpc>
                <a:spcPts val="2400"/>
              </a:lnSpc>
              <a:buNone/>
              <a:defRPr sz="2300">
                <a:solidFill>
                  <a:schemeClr val="bg1"/>
                </a:solidFill>
              </a:defRPr>
            </a:lvl1pPr>
            <a:lvl2pPr marL="171450" indent="0" algn="ctr">
              <a:buNone/>
              <a:defRPr sz="800"/>
            </a:lvl2pPr>
            <a:lvl3pPr marL="342900" indent="0" algn="ctr">
              <a:buNone/>
              <a:defRPr sz="700"/>
            </a:lvl3pPr>
            <a:lvl4pPr marL="514350" indent="0" algn="ctr">
              <a:buNone/>
              <a:defRPr sz="600"/>
            </a:lvl4pPr>
            <a:lvl5pPr marL="685800" indent="0" algn="ctr">
              <a:buNone/>
              <a:defRPr sz="600"/>
            </a:lvl5pPr>
            <a:lvl6pPr marL="857250" indent="0" algn="ctr">
              <a:buNone/>
              <a:defRPr sz="600"/>
            </a:lvl6pPr>
            <a:lvl7pPr marL="1028700" indent="0" algn="ctr">
              <a:buNone/>
              <a:defRPr sz="600"/>
            </a:lvl7pPr>
            <a:lvl8pPr marL="1200150" indent="0" algn="ctr">
              <a:buNone/>
              <a:defRPr sz="600"/>
            </a:lvl8pPr>
            <a:lvl9pPr marL="1371600" indent="0" algn="ctr">
              <a:buNone/>
              <a:defRPr sz="600"/>
            </a:lvl9pPr>
          </a:lstStyle>
          <a:p>
            <a:r>
              <a:rPr lang="zh-CN" altLang="en-US"/>
              <a:t>单击此处编辑母版副标题样式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B036A3-0668-F148-B56D-74EA2AEA7A5C}" type="datetime4">
              <a:rPr lang="en-GB" smtClean="0"/>
              <a:t>14 July 2020</a:t>
            </a:fld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81025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10913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691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0CCA1-EAAC-3C48-B59D-918CD4F43A39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03657" y="491729"/>
            <a:ext cx="2197964" cy="1493358"/>
          </a:xfrm>
        </p:spPr>
        <p:txBody>
          <a:bodyPr anchor="b" anchorCtr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003657" y="2343747"/>
            <a:ext cx="2197964" cy="211395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54286" y="491729"/>
            <a:ext cx="2273703" cy="40036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3547241" y="491729"/>
            <a:ext cx="2172260" cy="40036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273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96B37-5534-3343-BED0-0BDEC8A697AE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59650" y="485776"/>
            <a:ext cx="1630659" cy="3984624"/>
          </a:xfrm>
        </p:spPr>
        <p:txBody>
          <a:bodyPr anchor="b" anchorCtr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755700" y="485776"/>
            <a:ext cx="2562300" cy="398462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3690" y="485776"/>
            <a:ext cx="2453954" cy="398462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17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ACB59-B8FA-A643-884A-0D08ABEC0E15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53691" y="482204"/>
            <a:ext cx="3500550" cy="397549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682219" y="482204"/>
            <a:ext cx="3500550" cy="397549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51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CDEE-4949-944D-8B9C-C5C2BEDDDE3C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441150" y="482601"/>
            <a:ext cx="4749159" cy="4000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953691" y="482601"/>
            <a:ext cx="2247750" cy="4000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48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E1866-DDA9-F14E-896C-843F6EB5EF8D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53691" y="482601"/>
            <a:ext cx="4818459" cy="4000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029325" y="482601"/>
            <a:ext cx="2172296" cy="40004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17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E2B2D-CF37-7C45-9567-09F8BEFB7144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944050" y="481013"/>
            <a:ext cx="2247750" cy="396398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53691" y="481013"/>
            <a:ext cx="2247750" cy="396398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441150" y="481013"/>
            <a:ext cx="2247750" cy="396398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57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53691" y="484189"/>
            <a:ext cx="7236619" cy="39481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261BD-252A-484E-83B2-0BC916DD7BD6}" type="datetime4">
              <a:rPr lang="en-GB" smtClean="0"/>
              <a:t>14 July 2020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474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B6AB41-7F38-6F48-95E8-97CF80CC0798}" type="datetime4">
              <a:rPr lang="en-GB" smtClean="0"/>
              <a:t>14 July 2020</a:t>
            </a:fld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53690" y="1078238"/>
            <a:ext cx="7247930" cy="1126800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2EA35C-7C26-724A-A310-5A14B2598FFD}" type="datetime4">
              <a:rPr lang="en-GB" smtClean="0"/>
              <a:t>14 July 2020</a:t>
            </a:fld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85788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10913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53690" y="1078238"/>
            <a:ext cx="7247930" cy="1126800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12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Purpl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2EA35C-7C26-724A-A310-5A14B2598FFD}" type="datetime4">
              <a:rPr lang="en-GB" smtClean="0"/>
              <a:t>14 July 2020</a:t>
            </a:fld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53690" y="1078238"/>
            <a:ext cx="7247930" cy="1126800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09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5000" y="591051"/>
            <a:ext cx="7236619" cy="7547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35E22D-BEB2-7542-8EB4-642D62C92C2A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953690" y="1352947"/>
            <a:ext cx="3500550" cy="3076177"/>
          </a:xfrm>
        </p:spPr>
        <p:txBody>
          <a:bodyPr/>
          <a:lstStyle>
            <a:lvl1pPr>
              <a:spcAft>
                <a:spcPts val="1350"/>
              </a:spcAft>
              <a:tabLst>
                <a:tab pos="300038" algn="l"/>
              </a:tabLst>
              <a:defRPr sz="1500">
                <a:solidFill>
                  <a:schemeClr val="bg1"/>
                </a:solidFill>
              </a:defRPr>
            </a:lvl1pPr>
            <a:lvl2pPr marL="0" indent="0">
              <a:lnSpc>
                <a:spcPts val="1688"/>
              </a:lnSpc>
              <a:spcAft>
                <a:spcPts val="675"/>
              </a:spcAft>
              <a:buClr>
                <a:schemeClr val="bg1"/>
              </a:buClr>
              <a:buFont typeface="+mj-lt"/>
              <a:buNone/>
              <a:tabLst>
                <a:tab pos="200025" algn="l"/>
              </a:tabLst>
              <a:defRPr sz="12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352947"/>
            <a:ext cx="3500550" cy="3076178"/>
          </a:xfrm>
        </p:spPr>
        <p:txBody>
          <a:bodyPr/>
          <a:lstStyle>
            <a:lvl1pPr>
              <a:spcAft>
                <a:spcPts val="1350"/>
              </a:spcAft>
              <a:tabLst>
                <a:tab pos="300038" algn="l"/>
              </a:tabLst>
              <a:defRPr sz="1500">
                <a:solidFill>
                  <a:schemeClr val="bg1"/>
                </a:solidFill>
              </a:defRPr>
            </a:lvl1pPr>
            <a:lvl2pPr marL="0" indent="0">
              <a:lnSpc>
                <a:spcPts val="1688"/>
              </a:lnSpc>
              <a:spcAft>
                <a:spcPts val="675"/>
              </a:spcAft>
              <a:buClr>
                <a:schemeClr val="bg1"/>
              </a:buClr>
              <a:buFont typeface="+mj-lt"/>
              <a:buNone/>
              <a:tabLst>
                <a:tab pos="200025" algn="l"/>
              </a:tabLst>
              <a:defRPr sz="12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53100" y="281025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15675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9" name="Straight Connector 18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295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2EA35C-7C26-724A-A310-5A14B2598FFD}" type="datetime4">
              <a:rPr lang="en-GB" smtClean="0"/>
              <a:t>14 July 2020</a:t>
            </a:fld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53690" y="1078238"/>
            <a:ext cx="7247930" cy="1126800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381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_White_20%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3690" y="1078238"/>
            <a:ext cx="7247930" cy="1126800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2EA35C-7C26-724A-A310-5A14B2598FFD}" type="datetime4">
              <a:rPr lang="en-GB" smtClean="0"/>
              <a:t>14 July 2020</a:t>
            </a:fld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251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D65421-290E-D447-881A-CAE563741422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53100" y="1082278"/>
            <a:ext cx="6459731" cy="3156942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  <a:lvl2pPr marL="0" indent="0">
              <a:lnSpc>
                <a:spcPts val="2400"/>
              </a:lnSpc>
              <a:buNone/>
              <a:defRPr sz="2300">
                <a:solidFill>
                  <a:schemeClr val="bg1"/>
                </a:solidFill>
              </a:defRPr>
            </a:lvl2pPr>
            <a:lvl3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3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01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urpl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D65421-290E-D447-881A-CAE563741422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53100" y="1082278"/>
            <a:ext cx="6459731" cy="3156942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  <a:lvl2pPr marL="0" indent="0">
              <a:lnSpc>
                <a:spcPts val="2400"/>
              </a:lnSpc>
              <a:buNone/>
              <a:defRPr sz="2300">
                <a:solidFill>
                  <a:schemeClr val="bg1"/>
                </a:solidFill>
              </a:defRPr>
            </a:lvl2pPr>
            <a:lvl3pPr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3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85788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41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D65421-290E-D447-881A-CAE563741422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53100" y="1082278"/>
            <a:ext cx="6459731" cy="3156942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  <a:lvl2pPr marL="0" indent="0">
              <a:lnSpc>
                <a:spcPts val="2400"/>
              </a:lnSpc>
              <a:buNone/>
              <a:defRPr sz="2300">
                <a:solidFill>
                  <a:schemeClr val="bg1"/>
                </a:solidFill>
              </a:defRPr>
            </a:lvl2pPr>
            <a:lvl3pPr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3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65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PP_Pattern_White_20%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492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D65421-290E-D447-881A-CAE563741422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53100" y="1082278"/>
            <a:ext cx="6459731" cy="3156942"/>
          </a:xfrm>
        </p:spPr>
        <p:txBody>
          <a:bodyPr/>
          <a:lstStyle>
            <a:lvl1pPr>
              <a:lnSpc>
                <a:spcPts val="3375"/>
              </a:lnSpc>
              <a:defRPr sz="3400">
                <a:solidFill>
                  <a:schemeClr val="bg1"/>
                </a:solidFill>
              </a:defRPr>
            </a:lvl1pPr>
            <a:lvl2pPr marL="0" indent="0">
              <a:lnSpc>
                <a:spcPts val="2400"/>
              </a:lnSpc>
              <a:buNone/>
              <a:defRPr sz="2300">
                <a:solidFill>
                  <a:schemeClr val="bg1"/>
                </a:solidFill>
              </a:defRPr>
            </a:lvl2pPr>
            <a:lvl3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3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00" y="4806150"/>
            <a:ext cx="891542" cy="182880"/>
          </a:xfrm>
          <a:prstGeom prst="rect">
            <a:avLst/>
          </a:prstGeom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84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5000" y="581526"/>
            <a:ext cx="7236619" cy="75475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945426-7B39-334B-A70E-DF9F2008E5B3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953691" y="1441451"/>
            <a:ext cx="7236619" cy="2778720"/>
          </a:xfrm>
        </p:spPr>
        <p:txBody>
          <a:bodyPr/>
          <a:lstStyle/>
          <a:p>
            <a:r>
              <a:rPr lang="zh-CN" altLang="en-US"/>
              <a:t>单击图标添加表格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3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5000" y="578351"/>
            <a:ext cx="7236619" cy="75475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D964D-966A-5F42-9A5B-54752C4F41A7}" type="datetime4">
              <a:rPr lang="en-GB" smtClean="0"/>
              <a:t>14 July 2020</a:t>
            </a:fld>
            <a:endParaRPr lang="en-GB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6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85BCD-79A2-7E40-8A3E-3441AEC98FA2}" type="datetime4">
              <a:rPr lang="en-GB" smtClean="0"/>
              <a:t>14 July 2020</a:t>
            </a:fld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96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827"/>
            <a:ext cx="6858000" cy="1790808"/>
          </a:xfrm>
          <a:prstGeom prst="rect">
            <a:avLst/>
          </a:prstGeom>
        </p:spPr>
        <p:txBody>
          <a:bodyPr anchor="b"/>
          <a:lstStyle>
            <a:lvl1pPr algn="ctr">
              <a:defRPr sz="3068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637"/>
            <a:ext cx="6858000" cy="12420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27"/>
            </a:lvl1pPr>
            <a:lvl2pPr marL="233812" indent="0" algn="ctr">
              <a:buNone/>
              <a:defRPr sz="1023"/>
            </a:lvl2pPr>
            <a:lvl3pPr marL="467624" indent="0" algn="ctr">
              <a:buNone/>
              <a:defRPr sz="921"/>
            </a:lvl3pPr>
            <a:lvl4pPr marL="701436" indent="0" algn="ctr">
              <a:buNone/>
              <a:defRPr sz="818"/>
            </a:lvl4pPr>
            <a:lvl5pPr marL="935248" indent="0" algn="ctr">
              <a:buNone/>
              <a:defRPr sz="818"/>
            </a:lvl5pPr>
            <a:lvl6pPr marL="1169060" indent="0" algn="ctr">
              <a:buNone/>
              <a:defRPr sz="818"/>
            </a:lvl6pPr>
            <a:lvl7pPr marL="1402872" indent="0" algn="ctr">
              <a:buNone/>
              <a:defRPr sz="818"/>
            </a:lvl7pPr>
            <a:lvl8pPr marL="1636685" indent="0" algn="ctr">
              <a:buNone/>
              <a:defRPr sz="818"/>
            </a:lvl8pPr>
            <a:lvl9pPr marL="1870497" indent="0" algn="ctr">
              <a:buNone/>
              <a:defRPr sz="818"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621704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7936" y="583804"/>
            <a:ext cx="7227333" cy="7524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9951" y="1336279"/>
            <a:ext cx="3504009" cy="3121421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3CE63-426B-1547-A04E-680A55968817}" type="datetime4">
              <a:rPr lang="en-GB" smtClean="0"/>
              <a:t>14 July 2020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1"/>
          </p:nvPr>
        </p:nvSpPr>
        <p:spPr>
          <a:xfrm>
            <a:off x="952500" y="1336279"/>
            <a:ext cx="3504009" cy="3121421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4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464" y="273574"/>
            <a:ext cx="7887074" cy="99444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28464" y="1369490"/>
            <a:ext cx="7887074" cy="32633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503206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794" y="1282628"/>
            <a:ext cx="7887074" cy="2139066"/>
          </a:xfrm>
          <a:prstGeom prst="rect">
            <a:avLst/>
          </a:prstGeom>
        </p:spPr>
        <p:txBody>
          <a:bodyPr anchor="b"/>
          <a:lstStyle>
            <a:lvl1pPr>
              <a:defRPr sz="3068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794" y="3441989"/>
            <a:ext cx="7887074" cy="11251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27"/>
            </a:lvl1pPr>
            <a:lvl2pPr marL="233812" indent="0">
              <a:buNone/>
              <a:defRPr sz="1023"/>
            </a:lvl2pPr>
            <a:lvl3pPr marL="467624" indent="0">
              <a:buNone/>
              <a:defRPr sz="921"/>
            </a:lvl3pPr>
            <a:lvl4pPr marL="701436" indent="0">
              <a:buNone/>
              <a:defRPr sz="818"/>
            </a:lvl4pPr>
            <a:lvl5pPr marL="935248" indent="0">
              <a:buNone/>
              <a:defRPr sz="818"/>
            </a:lvl5pPr>
            <a:lvl6pPr marL="1169060" indent="0">
              <a:buNone/>
              <a:defRPr sz="818"/>
            </a:lvl6pPr>
            <a:lvl7pPr marL="1402872" indent="0">
              <a:buNone/>
              <a:defRPr sz="818"/>
            </a:lvl7pPr>
            <a:lvl8pPr marL="1636685" indent="0">
              <a:buNone/>
              <a:defRPr sz="818"/>
            </a:lvl8pPr>
            <a:lvl9pPr marL="1870497" indent="0">
              <a:buNone/>
              <a:defRPr sz="818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724366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464" y="273574"/>
            <a:ext cx="7887074" cy="99444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464" y="1369490"/>
            <a:ext cx="3898713" cy="32633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16824" y="1369490"/>
            <a:ext cx="3898714" cy="32633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3164626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397" y="273574"/>
            <a:ext cx="7887074" cy="99444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397" y="1260710"/>
            <a:ext cx="3868831" cy="6177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27" b="1"/>
            </a:lvl1pPr>
            <a:lvl2pPr marL="233812" indent="0">
              <a:buNone/>
              <a:defRPr sz="1023" b="1"/>
            </a:lvl2pPr>
            <a:lvl3pPr marL="467624" indent="0">
              <a:buNone/>
              <a:defRPr sz="921" b="1"/>
            </a:lvl3pPr>
            <a:lvl4pPr marL="701436" indent="0">
              <a:buNone/>
              <a:defRPr sz="818" b="1"/>
            </a:lvl4pPr>
            <a:lvl5pPr marL="935248" indent="0">
              <a:buNone/>
              <a:defRPr sz="818" b="1"/>
            </a:lvl5pPr>
            <a:lvl6pPr marL="1169060" indent="0">
              <a:buNone/>
              <a:defRPr sz="818" b="1"/>
            </a:lvl6pPr>
            <a:lvl7pPr marL="1402872" indent="0">
              <a:buNone/>
              <a:defRPr sz="818" b="1"/>
            </a:lvl7pPr>
            <a:lvl8pPr marL="1636685" indent="0">
              <a:buNone/>
              <a:defRPr sz="818" b="1"/>
            </a:lvl8pPr>
            <a:lvl9pPr marL="1870497" indent="0">
              <a:buNone/>
              <a:defRPr sz="818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397" y="1878482"/>
            <a:ext cx="3868831" cy="27641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8964" y="1260710"/>
            <a:ext cx="3887507" cy="6177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27" b="1"/>
            </a:lvl1pPr>
            <a:lvl2pPr marL="233812" indent="0">
              <a:buNone/>
              <a:defRPr sz="1023" b="1"/>
            </a:lvl2pPr>
            <a:lvl3pPr marL="467624" indent="0">
              <a:buNone/>
              <a:defRPr sz="921" b="1"/>
            </a:lvl3pPr>
            <a:lvl4pPr marL="701436" indent="0">
              <a:buNone/>
              <a:defRPr sz="818" b="1"/>
            </a:lvl4pPr>
            <a:lvl5pPr marL="935248" indent="0">
              <a:buNone/>
              <a:defRPr sz="818" b="1"/>
            </a:lvl5pPr>
            <a:lvl6pPr marL="1169060" indent="0">
              <a:buNone/>
              <a:defRPr sz="818" b="1"/>
            </a:lvl6pPr>
            <a:lvl7pPr marL="1402872" indent="0">
              <a:buNone/>
              <a:defRPr sz="818" b="1"/>
            </a:lvl7pPr>
            <a:lvl8pPr marL="1636685" indent="0">
              <a:buNone/>
              <a:defRPr sz="818" b="1"/>
            </a:lvl8pPr>
            <a:lvl9pPr marL="1870497" indent="0">
              <a:buNone/>
              <a:defRPr sz="818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8964" y="1878482"/>
            <a:ext cx="3887507" cy="27641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857464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464" y="273574"/>
            <a:ext cx="7887074" cy="99444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640372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2995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397" y="342576"/>
            <a:ext cx="2949949" cy="1200637"/>
          </a:xfrm>
          <a:prstGeom prst="rect">
            <a:avLst/>
          </a:prstGeom>
        </p:spPr>
        <p:txBody>
          <a:bodyPr anchor="b"/>
          <a:lstStyle>
            <a:lvl1pPr>
              <a:defRPr sz="1636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508" y="740352"/>
            <a:ext cx="4628963" cy="3655490"/>
          </a:xfrm>
          <a:prstGeom prst="rect">
            <a:avLst/>
          </a:prstGeom>
        </p:spPr>
        <p:txBody>
          <a:bodyPr/>
          <a:lstStyle>
            <a:lvl1pPr>
              <a:defRPr sz="1636"/>
            </a:lvl1pPr>
            <a:lvl2pPr>
              <a:defRPr sz="1432"/>
            </a:lvl2pPr>
            <a:lvl3pPr>
              <a:defRPr sz="1227"/>
            </a:lvl3pPr>
            <a:lvl4pPr>
              <a:defRPr sz="1023"/>
            </a:lvl4pPr>
            <a:lvl5pPr>
              <a:defRPr sz="1023"/>
            </a:lvl5pPr>
            <a:lvl6pPr>
              <a:defRPr sz="1023"/>
            </a:lvl6pPr>
            <a:lvl7pPr>
              <a:defRPr sz="1023"/>
            </a:lvl7pPr>
            <a:lvl8pPr>
              <a:defRPr sz="1023"/>
            </a:lvl8pPr>
            <a:lvl9pPr>
              <a:defRPr sz="102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397" y="1543213"/>
            <a:ext cx="2949949" cy="28583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18"/>
            </a:lvl1pPr>
            <a:lvl2pPr marL="233812" indent="0">
              <a:buNone/>
              <a:defRPr sz="716"/>
            </a:lvl2pPr>
            <a:lvl3pPr marL="467624" indent="0">
              <a:buNone/>
              <a:defRPr sz="614"/>
            </a:lvl3pPr>
            <a:lvl4pPr marL="701436" indent="0">
              <a:buNone/>
              <a:defRPr sz="511"/>
            </a:lvl4pPr>
            <a:lvl5pPr marL="935248" indent="0">
              <a:buNone/>
              <a:defRPr sz="511"/>
            </a:lvl5pPr>
            <a:lvl6pPr marL="1169060" indent="0">
              <a:buNone/>
              <a:defRPr sz="511"/>
            </a:lvl6pPr>
            <a:lvl7pPr marL="1402872" indent="0">
              <a:buNone/>
              <a:defRPr sz="511"/>
            </a:lvl7pPr>
            <a:lvl8pPr marL="1636685" indent="0">
              <a:buNone/>
              <a:defRPr sz="511"/>
            </a:lvl8pPr>
            <a:lvl9pPr marL="1870497" indent="0">
              <a:buNone/>
              <a:defRPr sz="51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988999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397" y="342576"/>
            <a:ext cx="2949949" cy="1200637"/>
          </a:xfrm>
          <a:prstGeom prst="rect">
            <a:avLst/>
          </a:prstGeom>
        </p:spPr>
        <p:txBody>
          <a:bodyPr anchor="b"/>
          <a:lstStyle>
            <a:lvl1pPr>
              <a:defRPr sz="1636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508" y="740352"/>
            <a:ext cx="4628963" cy="36554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36"/>
            </a:lvl1pPr>
            <a:lvl2pPr marL="233812" indent="0">
              <a:buNone/>
              <a:defRPr sz="1432"/>
            </a:lvl2pPr>
            <a:lvl3pPr marL="467624" indent="0">
              <a:buNone/>
              <a:defRPr sz="1227"/>
            </a:lvl3pPr>
            <a:lvl4pPr marL="701436" indent="0">
              <a:buNone/>
              <a:defRPr sz="1023"/>
            </a:lvl4pPr>
            <a:lvl5pPr marL="935248" indent="0">
              <a:buNone/>
              <a:defRPr sz="1023"/>
            </a:lvl5pPr>
            <a:lvl6pPr marL="1169060" indent="0">
              <a:buNone/>
              <a:defRPr sz="1023"/>
            </a:lvl6pPr>
            <a:lvl7pPr marL="1402872" indent="0">
              <a:buNone/>
              <a:defRPr sz="1023"/>
            </a:lvl7pPr>
            <a:lvl8pPr marL="1636685" indent="0">
              <a:buNone/>
              <a:defRPr sz="1023"/>
            </a:lvl8pPr>
            <a:lvl9pPr marL="1870497" indent="0">
              <a:buNone/>
              <a:defRPr sz="1023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397" y="1543213"/>
            <a:ext cx="2949949" cy="28583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18"/>
            </a:lvl1pPr>
            <a:lvl2pPr marL="233812" indent="0">
              <a:buNone/>
              <a:defRPr sz="716"/>
            </a:lvl2pPr>
            <a:lvl3pPr marL="467624" indent="0">
              <a:buNone/>
              <a:defRPr sz="614"/>
            </a:lvl3pPr>
            <a:lvl4pPr marL="701436" indent="0">
              <a:buNone/>
              <a:defRPr sz="511"/>
            </a:lvl4pPr>
            <a:lvl5pPr marL="935248" indent="0">
              <a:buNone/>
              <a:defRPr sz="511"/>
            </a:lvl5pPr>
            <a:lvl6pPr marL="1169060" indent="0">
              <a:buNone/>
              <a:defRPr sz="511"/>
            </a:lvl6pPr>
            <a:lvl7pPr marL="1402872" indent="0">
              <a:buNone/>
              <a:defRPr sz="511"/>
            </a:lvl7pPr>
            <a:lvl8pPr marL="1636685" indent="0">
              <a:buNone/>
              <a:defRPr sz="511"/>
            </a:lvl8pPr>
            <a:lvl9pPr marL="1870497" indent="0">
              <a:buNone/>
              <a:defRPr sz="51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107518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464" y="273574"/>
            <a:ext cx="7887074" cy="99444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464" y="1369490"/>
            <a:ext cx="7887074" cy="326339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2283801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4235" y="273574"/>
            <a:ext cx="1971302" cy="4359311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463" y="273574"/>
            <a:ext cx="5826125" cy="435931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21500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ng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9524" y="583804"/>
            <a:ext cx="7236023" cy="7524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9523" y="1336279"/>
            <a:ext cx="7227689" cy="3121421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00398-FCDE-2D49-A01F-C7EE3F729C9E}" type="datetime4">
              <a:rPr lang="en-GB" smtClean="0"/>
              <a:t>14 July 2020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0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686300" y="566737"/>
            <a:ext cx="3504009" cy="38623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54286" y="1334692"/>
            <a:ext cx="3503414" cy="3101074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3691" y="582217"/>
            <a:ext cx="3500550" cy="752475"/>
          </a:xfrm>
        </p:spPr>
        <p:txBody>
          <a:bodyPr anchor="t" anchorCtr="0"/>
          <a:lstStyle>
            <a:lvl1pPr>
              <a:defRPr sz="2300"/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E1289-C541-2C45-ABB3-B8BB24CE5C72}" type="datetime4">
              <a:rPr lang="en-GB" smtClean="0"/>
              <a:t>14 July 2020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74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wo Content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5506650" y="571500"/>
            <a:ext cx="2683659" cy="386076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53691" y="1333102"/>
            <a:ext cx="2034450" cy="312459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3691" y="580629"/>
            <a:ext cx="4168378" cy="740171"/>
          </a:xfrm>
        </p:spPr>
        <p:txBody>
          <a:bodyPr anchor="t" anchorCtr="0"/>
          <a:lstStyle>
            <a:lvl1pPr>
              <a:defRPr sz="2300"/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47151-CF18-474E-A499-241DC293463A}" type="datetime4">
              <a:rPr lang="en-GB" smtClean="0"/>
              <a:t>14 July 2020</a:t>
            </a:fld>
            <a:endParaRPr lang="en-GB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086100" y="1333102"/>
            <a:ext cx="2034450" cy="312459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41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3ACBBF-55B4-804D-9392-31EDD6D4EF01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54286" y="486966"/>
            <a:ext cx="5370300" cy="39707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61000" y="471488"/>
            <a:ext cx="1629309" cy="3990202"/>
          </a:xfrm>
        </p:spPr>
        <p:txBody>
          <a:bodyPr anchor="b" anchorCtr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32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92115C-71CA-C54E-B0BD-3C4445A16D10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61000" y="484188"/>
            <a:ext cx="1629309" cy="3948112"/>
          </a:xfrm>
        </p:spPr>
        <p:txBody>
          <a:bodyPr anchor="b" anchorCtr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66405" y="2558598"/>
            <a:ext cx="2566350" cy="188005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755700" y="2558598"/>
            <a:ext cx="2566350" cy="188005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3755700" y="489288"/>
            <a:ext cx="2566350" cy="190117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59261" y="491332"/>
            <a:ext cx="2566350" cy="190117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79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52F3-93A3-E946-A898-EEDAD980E556}" type="datetime4">
              <a:rPr lang="en-GB" smtClean="0"/>
              <a:t>14 July 2020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59059" y="492126"/>
            <a:ext cx="1631250" cy="3997269"/>
          </a:xfrm>
        </p:spPr>
        <p:txBody>
          <a:bodyPr anchor="b" anchorCtr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691250" y="2596166"/>
            <a:ext cx="1630800" cy="18742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4691250" y="492126"/>
            <a:ext cx="1630800" cy="189699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53691" y="492126"/>
            <a:ext cx="3500550" cy="399726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50" y="4806150"/>
            <a:ext cx="891542" cy="1828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57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FC5B00-BEFF-4A0E-9C8D-5496D5D6A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272427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32" imgW="384" imgH="384" progId="TCLayout.ActiveDocument.1">
                  <p:embed/>
                </p:oleObj>
              </mc:Choice>
              <mc:Fallback>
                <p:oleObj name="think-cell Slide" r:id="rId32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5000" y="591051"/>
            <a:ext cx="7236619" cy="7547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5000" y="1347051"/>
            <a:ext cx="7236975" cy="3121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77050" y="4808735"/>
            <a:ext cx="1313259" cy="1750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DC3042-F5D6-5145-A7E7-9CC04D4FD84A}" type="datetime4">
              <a:rPr lang="en-GB" smtClean="0"/>
              <a:t>14 July 2020</a:t>
            </a:fld>
            <a:endParaRPr lang="en-GB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953100" y="467100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953100" y="290550"/>
            <a:ext cx="7238700" cy="462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58200" y="4810125"/>
            <a:ext cx="276225" cy="176213"/>
          </a:xfrm>
          <a:prstGeom prst="rect">
            <a:avLst/>
          </a:prstGeom>
        </p:spPr>
        <p:txBody>
          <a:bodyPr vert="horz" lIns="34290" tIns="17145" rIns="34290" bIns="1714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6DCA0-AD7A-3849-B278-AAEE98B1A0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425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2" r:id="rId3"/>
    <p:sldLayoutId id="2147483650" r:id="rId4"/>
    <p:sldLayoutId id="2147483656" r:id="rId5"/>
    <p:sldLayoutId id="2147483662" r:id="rId6"/>
    <p:sldLayoutId id="2147483663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2" r:id="rId14"/>
    <p:sldLayoutId id="2147483671" r:id="rId15"/>
    <p:sldLayoutId id="2147483673" r:id="rId16"/>
    <p:sldLayoutId id="2147483674" r:id="rId17"/>
    <p:sldLayoutId id="2147483680" r:id="rId18"/>
    <p:sldLayoutId id="2147483685" r:id="rId19"/>
    <p:sldLayoutId id="2147483686" r:id="rId20"/>
    <p:sldLayoutId id="2147483687" r:id="rId21"/>
    <p:sldLayoutId id="2147483676" r:id="rId22"/>
    <p:sldLayoutId id="2147483682" r:id="rId23"/>
    <p:sldLayoutId id="2147483683" r:id="rId24"/>
    <p:sldLayoutId id="2147483684" r:id="rId25"/>
    <p:sldLayoutId id="2147483679" r:id="rId26"/>
    <p:sldLayoutId id="2147483654" r:id="rId27"/>
    <p:sldLayoutId id="2147483655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342900" rtl="0" eaLnBrk="1" latinLnBrk="0" hangingPunct="1">
        <a:lnSpc>
          <a:spcPts val="2400"/>
        </a:lnSpc>
        <a:spcBef>
          <a:spcPct val="0"/>
        </a:spcBef>
        <a:buNone/>
        <a:defRPr sz="2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lnSpc>
          <a:spcPts val="2138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00" kern="1200" baseline="0">
          <a:solidFill>
            <a:srgbClr val="505150"/>
          </a:solidFill>
          <a:latin typeface="+mn-lt"/>
          <a:ea typeface="+mn-ea"/>
          <a:cs typeface="+mn-cs"/>
        </a:defRPr>
      </a:lvl1pPr>
      <a:lvl2pPr marL="234553" indent="-234553" algn="l" defTabSz="342900" rtl="0" eaLnBrk="1" latinLnBrk="0" hangingPunct="1">
        <a:lnSpc>
          <a:spcPts val="2138"/>
        </a:lnSpc>
        <a:spcBef>
          <a:spcPts val="0"/>
        </a:spcBef>
        <a:spcAft>
          <a:spcPts val="900"/>
        </a:spcAft>
        <a:buClr>
          <a:srgbClr val="505150"/>
        </a:buClr>
        <a:buSzPct val="85000"/>
        <a:buFont typeface="Century Gothic"/>
        <a:buChar char="—"/>
        <a:defRPr sz="1500" kern="1200">
          <a:solidFill>
            <a:srgbClr val="505150"/>
          </a:solidFill>
          <a:latin typeface="+mn-lt"/>
          <a:ea typeface="+mn-ea"/>
          <a:cs typeface="+mn-cs"/>
        </a:defRPr>
      </a:lvl2pPr>
      <a:lvl3pPr marL="0" indent="0" algn="l" defTabSz="342900" rtl="0" eaLnBrk="1" latinLnBrk="0" hangingPunct="1">
        <a:lnSpc>
          <a:spcPts val="2138"/>
        </a:lnSpc>
        <a:spcBef>
          <a:spcPts val="0"/>
        </a:spcBef>
        <a:spcAft>
          <a:spcPts val="900"/>
        </a:spcAft>
        <a:buClr>
          <a:schemeClr val="bg2"/>
        </a:buClr>
        <a:buSzPct val="85000"/>
        <a:buFont typeface="Century Gothic" panose="020B0502020202020204" pitchFamily="34" charset="0"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229500" indent="-229500" algn="l" defTabSz="342900" rtl="0" eaLnBrk="1" latinLnBrk="0" hangingPunct="1">
        <a:lnSpc>
          <a:spcPts val="1688"/>
        </a:lnSpc>
        <a:spcBef>
          <a:spcPts val="0"/>
        </a:spcBef>
        <a:spcAft>
          <a:spcPts val="900"/>
        </a:spcAft>
        <a:buClr>
          <a:srgbClr val="505150"/>
        </a:buClr>
        <a:buSzPct val="85000"/>
        <a:buFont typeface="Century Gothic" panose="020B0502020202020204" pitchFamily="34" charset="0"/>
        <a:buChar char="—"/>
        <a:defRPr sz="1200" kern="1200">
          <a:solidFill>
            <a:srgbClr val="474847"/>
          </a:solidFill>
          <a:latin typeface="+mn-lt"/>
          <a:ea typeface="+mn-ea"/>
          <a:cs typeface="+mn-cs"/>
        </a:defRPr>
      </a:lvl4pPr>
      <a:lvl5pPr marL="0" indent="0" algn="l" defTabSz="342900" rtl="0" eaLnBrk="1" latinLnBrk="0" hangingPunct="1">
        <a:lnSpc>
          <a:spcPts val="15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942975" indent="-85725" algn="l" defTabSz="342900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114425" indent="-85725" algn="l" defTabSz="342900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285875" indent="-85725" algn="l" defTabSz="342900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457325" indent="-85725" algn="l" defTabSz="342900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1602" userDrawn="1">
          <p15:clr>
            <a:srgbClr val="F26B43"/>
          </p15:clr>
        </p15:guide>
        <p15:guide id="4" pos="13758" userDrawn="1">
          <p15:clr>
            <a:srgbClr val="F26B43"/>
          </p15:clr>
        </p15:guide>
        <p15:guide id="5" orient="horz" pos="7971" userDrawn="1">
          <p15:clr>
            <a:srgbClr val="F26B43"/>
          </p15:clr>
        </p15:guide>
        <p15:guide id="6" orient="horz" pos="8265" userDrawn="1">
          <p15:clr>
            <a:srgbClr val="F26B43"/>
          </p15:clr>
        </p15:guide>
        <p15:guide id="7" orient="horz" pos="2596" userDrawn="1">
          <p15:clr>
            <a:srgbClr val="F26B43"/>
          </p15:clr>
        </p15:guide>
        <p15:guide id="8" orient="horz" pos="7042" userDrawn="1">
          <p15:clr>
            <a:srgbClr val="F26B43"/>
          </p15:clr>
        </p15:guide>
        <p15:guide id="9" orient="horz" pos="7858" userDrawn="1">
          <p15:clr>
            <a:srgbClr val="F26B43"/>
          </p15:clr>
        </p15:guide>
        <p15:guide id="10" orient="horz" pos="3367" userDrawn="1">
          <p15:clr>
            <a:srgbClr val="F26B43"/>
          </p15:clr>
        </p15:guide>
        <p15:guide id="11" orient="horz" pos="1792" userDrawn="1">
          <p15:clr>
            <a:srgbClr val="F26B43"/>
          </p15:clr>
        </p15:guide>
        <p15:guide id="12" orient="horz" pos="289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 descr="tabloidbranding">
            <a:extLst>
              <a:ext uri="{FF2B5EF4-FFF2-40B4-BE49-F238E27FC236}">
                <a16:creationId xmlns:a16="http://schemas.microsoft.com/office/drawing/2014/main" id="{B7D6FF51-7872-41C6-A068-9BC9A833C3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02" y="4792807"/>
            <a:ext cx="8613588" cy="245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77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ctr" defTabSz="748523" rtl="0" eaLnBrk="0" fontAlgn="base" hangingPunct="0">
        <a:spcBef>
          <a:spcPct val="0"/>
        </a:spcBef>
        <a:spcAft>
          <a:spcPct val="0"/>
        </a:spcAft>
        <a:defRPr sz="358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defTabSz="748523" rtl="0" eaLnBrk="0" fontAlgn="base" hangingPunct="0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2pPr>
      <a:lvl3pPr algn="ctr" defTabSz="748523" rtl="0" eaLnBrk="0" fontAlgn="base" hangingPunct="0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3pPr>
      <a:lvl4pPr algn="ctr" defTabSz="748523" rtl="0" eaLnBrk="0" fontAlgn="base" hangingPunct="0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4pPr>
      <a:lvl5pPr algn="ctr" defTabSz="748523" rtl="0" eaLnBrk="0" fontAlgn="base" hangingPunct="0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5pPr>
      <a:lvl6pPr marL="233812" algn="ctr" defTabSz="748523" rtl="0" fontAlgn="base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6pPr>
      <a:lvl7pPr marL="467624" algn="ctr" defTabSz="748523" rtl="0" fontAlgn="base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7pPr>
      <a:lvl8pPr marL="701436" algn="ctr" defTabSz="748523" rtl="0" fontAlgn="base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8pPr>
      <a:lvl9pPr marL="935248" algn="ctr" defTabSz="748523" rtl="0" fontAlgn="base">
        <a:spcBef>
          <a:spcPct val="0"/>
        </a:spcBef>
        <a:spcAft>
          <a:spcPct val="0"/>
        </a:spcAft>
        <a:defRPr sz="358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280899" indent="-280899" algn="l" defTabSz="748523" rtl="0" eaLnBrk="0" fontAlgn="base" hangingPunct="0">
        <a:spcBef>
          <a:spcPct val="20000"/>
        </a:spcBef>
        <a:spcAft>
          <a:spcPct val="0"/>
        </a:spcAft>
        <a:buChar char="•"/>
        <a:defRPr sz="2608" kern="1200">
          <a:solidFill>
            <a:schemeClr val="tx1"/>
          </a:solidFill>
          <a:latin typeface="+mn-lt"/>
          <a:ea typeface="+mn-ea"/>
          <a:cs typeface="+mn-cs"/>
        </a:defRPr>
      </a:lvl1pPr>
      <a:lvl2pPr marL="608074" indent="-233812" algn="l" defTabSz="748523" rtl="0" eaLnBrk="0" fontAlgn="base" hangingPunct="0">
        <a:spcBef>
          <a:spcPct val="20000"/>
        </a:spcBef>
        <a:spcAft>
          <a:spcPct val="0"/>
        </a:spcAft>
        <a:buChar char="–"/>
        <a:defRPr sz="2301" kern="1200">
          <a:solidFill>
            <a:schemeClr val="tx1"/>
          </a:solidFill>
          <a:latin typeface="+mn-lt"/>
          <a:ea typeface="+mn-ea"/>
          <a:cs typeface="+mn-cs"/>
        </a:defRPr>
      </a:lvl2pPr>
      <a:lvl3pPr marL="935248" indent="-186725" algn="l" defTabSz="748523" rtl="0" eaLnBrk="0" fontAlgn="base" hangingPunct="0">
        <a:spcBef>
          <a:spcPct val="20000"/>
        </a:spcBef>
        <a:spcAft>
          <a:spcPct val="0"/>
        </a:spcAft>
        <a:buChar char="•"/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309510" indent="-187537" algn="l" defTabSz="748523" rtl="0" eaLnBrk="0" fontAlgn="base" hangingPunct="0">
        <a:spcBef>
          <a:spcPct val="20000"/>
        </a:spcBef>
        <a:spcAft>
          <a:spcPct val="0"/>
        </a:spcAft>
        <a:buChar char="–"/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83772" indent="-187537" algn="l" defTabSz="748523" rtl="0" eaLnBrk="0" fontAlgn="base" hangingPunct="0">
        <a:spcBef>
          <a:spcPct val="20000"/>
        </a:spcBef>
        <a:spcAft>
          <a:spcPct val="0"/>
        </a:spcAft>
        <a:buChar char="»"/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1285966" indent="-116906" algn="l" defTabSz="467624" rtl="0" eaLnBrk="1" latinLnBrk="0" hangingPunct="1">
        <a:lnSpc>
          <a:spcPct val="90000"/>
        </a:lnSpc>
        <a:spcBef>
          <a:spcPts val="256"/>
        </a:spcBef>
        <a:buFont typeface="Arial" panose="020B0604020202020204" pitchFamily="34" charset="0"/>
        <a:buChar char="•"/>
        <a:defRPr sz="921" kern="1200">
          <a:solidFill>
            <a:schemeClr val="tx1"/>
          </a:solidFill>
          <a:latin typeface="+mn-lt"/>
          <a:ea typeface="+mn-ea"/>
          <a:cs typeface="+mn-cs"/>
        </a:defRPr>
      </a:lvl6pPr>
      <a:lvl7pPr marL="1519779" indent="-116906" algn="l" defTabSz="467624" rtl="0" eaLnBrk="1" latinLnBrk="0" hangingPunct="1">
        <a:lnSpc>
          <a:spcPct val="90000"/>
        </a:lnSpc>
        <a:spcBef>
          <a:spcPts val="256"/>
        </a:spcBef>
        <a:buFont typeface="Arial" panose="020B0604020202020204" pitchFamily="34" charset="0"/>
        <a:buChar char="•"/>
        <a:defRPr sz="921" kern="1200">
          <a:solidFill>
            <a:schemeClr val="tx1"/>
          </a:solidFill>
          <a:latin typeface="+mn-lt"/>
          <a:ea typeface="+mn-ea"/>
          <a:cs typeface="+mn-cs"/>
        </a:defRPr>
      </a:lvl7pPr>
      <a:lvl8pPr marL="1753591" indent="-116906" algn="l" defTabSz="467624" rtl="0" eaLnBrk="1" latinLnBrk="0" hangingPunct="1">
        <a:lnSpc>
          <a:spcPct val="90000"/>
        </a:lnSpc>
        <a:spcBef>
          <a:spcPts val="256"/>
        </a:spcBef>
        <a:buFont typeface="Arial" panose="020B0604020202020204" pitchFamily="34" charset="0"/>
        <a:buChar char="•"/>
        <a:defRPr sz="921" kern="1200">
          <a:solidFill>
            <a:schemeClr val="tx1"/>
          </a:solidFill>
          <a:latin typeface="+mn-lt"/>
          <a:ea typeface="+mn-ea"/>
          <a:cs typeface="+mn-cs"/>
        </a:defRPr>
      </a:lvl8pPr>
      <a:lvl9pPr marL="1987403" indent="-116906" algn="l" defTabSz="467624" rtl="0" eaLnBrk="1" latinLnBrk="0" hangingPunct="1">
        <a:lnSpc>
          <a:spcPct val="90000"/>
        </a:lnSpc>
        <a:spcBef>
          <a:spcPts val="256"/>
        </a:spcBef>
        <a:buFont typeface="Arial" panose="020B0604020202020204" pitchFamily="34" charset="0"/>
        <a:buChar char="•"/>
        <a:defRPr sz="92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1pPr>
      <a:lvl2pPr marL="233812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2pPr>
      <a:lvl3pPr marL="467624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3pPr>
      <a:lvl4pPr marL="701436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4pPr>
      <a:lvl5pPr marL="935248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5pPr>
      <a:lvl6pPr marL="1169060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6pPr>
      <a:lvl7pPr marL="1402872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7pPr>
      <a:lvl8pPr marL="1636685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8pPr>
      <a:lvl9pPr marL="1870497" algn="l" defTabSz="467624" rtl="0" eaLnBrk="1" latinLnBrk="0" hangingPunct="1">
        <a:defRPr sz="9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jpeg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2AD3AB7-578E-47A9-A49B-441B24B8572D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08E9C6E5-DE97-4484-AC8C-628AEF41D412}" type="datetime4">
              <a:rPr lang="en-GB" smtClean="0"/>
              <a:pPr>
                <a:defRPr/>
              </a:pPr>
              <a:t>14 July 2020</a:t>
            </a:fld>
            <a:endParaRPr lang="en-GB" dirty="0"/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12FECEDB-6BA1-4B97-BE13-8537053656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817731"/>
              </p:ext>
            </p:extLst>
          </p:nvPr>
        </p:nvGraphicFramePr>
        <p:xfrm>
          <a:off x="1215727" y="695518"/>
          <a:ext cx="5991523" cy="3881381"/>
        </p:xfrm>
        <a:graphic>
          <a:graphicData uri="http://schemas.openxmlformats.org/drawingml/2006/table">
            <a:tbl>
              <a:tblPr/>
              <a:tblGrid>
                <a:gridCol w="1423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97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1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7350">
                  <a:extLst>
                    <a:ext uri="{9D8B030D-6E8A-4147-A177-3AD203B41FA5}">
                      <a16:colId xmlns:a16="http://schemas.microsoft.com/office/drawing/2014/main" val="1045014708"/>
                    </a:ext>
                  </a:extLst>
                </a:gridCol>
              </a:tblGrid>
              <a:tr h="260137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华文隶书" panose="02010800040101010101" pitchFamily="2" charset="-122"/>
                        </a:rPr>
                        <a:t>Golden Idea Collection(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金点子收集单</a:t>
                      </a:r>
                      <a:r>
                        <a:rPr lang="en-US" altLang="zh-CN" sz="12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panose="02010600030101010101" pitchFamily="2" charset="-122"/>
                          <a:cs typeface="+mn-cs"/>
                        </a:rPr>
                        <a:t>)</a:t>
                      </a:r>
                      <a:endParaRPr lang="zh-CN" altLang="en-US" sz="1200" b="1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773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Microsoft YaHei UI" panose="020B0503020204020204" pitchFamily="34" charset="-122"/>
                        </a:rPr>
                        <a:t>Golden Idea Name(</a:t>
                      </a:r>
                      <a:r>
                        <a:rPr lang="zh-CN" altLang="en-US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金点子名称</a:t>
                      </a:r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Microsoft YaHei UI" panose="020B0503020204020204" pitchFamily="34" charset="-122"/>
                        </a:rPr>
                        <a:t>）</a:t>
                      </a:r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Microsoft YaHei UI" panose="020B0503020204020204" pitchFamily="34" charset="-122"/>
                        </a:rPr>
                        <a:t>: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Microsoft YaHei UI" panose="020B0503020204020204" pitchFamily="34" charset="-122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496926"/>
                  </a:ext>
                </a:extLst>
              </a:tr>
              <a:tr h="4009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Microsoft YaHei UI" panose="020B0503020204020204" pitchFamily="34" charset="-122"/>
                        </a:rPr>
                        <a:t>Abcam(Hangzhou)</a:t>
                      </a: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>
                          <a:latin typeface="Century Gothic" panose="020B0502020202020204" pitchFamily="34" charset="0"/>
                        </a:rPr>
                        <a:t>Department: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（部门）</a:t>
                      </a: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</a:rPr>
                        <a:t>Name: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（姓名）</a:t>
                      </a: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342900" rtl="0" eaLnBrk="1" fontAlgn="b" latinLnBrk="0" hangingPunct="1"/>
                      <a:r>
                        <a:rPr lang="en-US" altLang="zh-CN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  <a:cs typeface="+mn-cs"/>
                        </a:rPr>
                        <a:t>Proposed Date</a:t>
                      </a:r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endParaRPr lang="en-US" altLang="zh-CN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l" defTabSz="3429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（提交日期）</a:t>
                      </a: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378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</a:rPr>
                        <a:t>Problem Statement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宋体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（发现的问题或需求）</a:t>
                      </a:r>
                      <a:endParaRPr lang="en-US" altLang="zh-CN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endParaRPr lang="en-US" altLang="zh-CN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</a:endParaRPr>
                    </a:p>
                    <a:p>
                      <a:pPr algn="ctr" fontAlgn="b"/>
                      <a:endParaRPr lang="en-US" altLang="zh-CN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</a:endParaRPr>
                    </a:p>
                    <a:p>
                      <a:pPr algn="ctr" fontAlgn="b"/>
                      <a:endParaRPr lang="en-US" altLang="zh-CN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</a:endParaRPr>
                    </a:p>
                    <a:p>
                      <a:pPr algn="ctr" fontAlgn="b"/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7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</a:rPr>
                        <a:t>Solution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（改进方法或解决方法）</a:t>
                      </a: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宋体" panose="02010600030101010101" pitchFamily="2" charset="-122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43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</a:rPr>
                        <a:t>Are you willing to lead this improvement?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（是否愿意参与这个改进</a:t>
                      </a:r>
                      <a:r>
                        <a:rPr lang="en-US" altLang="zh-CN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?</a:t>
                      </a:r>
                      <a:r>
                        <a:rPr lang="zh-CN" altLang="en-US" sz="8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）</a:t>
                      </a: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宋体" panose="02010600030101010101" pitchFamily="2" charset="-122"/>
                        </a:rPr>
                        <a:t>Yes or       No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3572" marR="3572" marT="35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8457" name="Text Box 8">
            <a:extLst>
              <a:ext uri="{FF2B5EF4-FFF2-40B4-BE49-F238E27FC236}">
                <a16:creationId xmlns:a16="http://schemas.microsoft.com/office/drawing/2014/main" id="{F8D8E4FA-0707-4445-B247-C70451B82C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6271" y="253181"/>
            <a:ext cx="154562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3600"/>
              </a:lnSpc>
              <a:spcAft>
                <a:spcPts val="2400"/>
              </a:spcAft>
              <a:buFont typeface="Arial" panose="020B0604020202020204" pitchFamily="34" charset="0"/>
              <a:defRPr sz="30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742950" indent="-285750">
              <a:lnSpc>
                <a:spcPts val="3600"/>
              </a:lnSpc>
              <a:spcAft>
                <a:spcPts val="2400"/>
              </a:spcAft>
              <a:buClr>
                <a:schemeClr val="bg2"/>
              </a:buClr>
              <a:buSzPct val="85000"/>
              <a:buFont typeface="Century Gothic" panose="020B0502020202020204" pitchFamily="34" charset="0"/>
              <a:buChar char="—"/>
              <a:defRPr sz="3000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1143000" indent="-228600">
              <a:lnSpc>
                <a:spcPts val="3600"/>
              </a:lnSpc>
              <a:spcAft>
                <a:spcPts val="2400"/>
              </a:spcAft>
              <a:buClr>
                <a:schemeClr val="bg2"/>
              </a:buClr>
              <a:buSzPct val="85000"/>
              <a:buFont typeface="Century Gothic" panose="020B0502020202020204" pitchFamily="34" charset="0"/>
              <a:defRPr sz="30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marL="1600200" indent="-228600">
              <a:lnSpc>
                <a:spcPct val="90000"/>
              </a:lnSpc>
              <a:spcAft>
                <a:spcPts val="2400"/>
              </a:spcAft>
              <a:buClr>
                <a:schemeClr val="bg2"/>
              </a:buClr>
              <a:buSzPct val="85000"/>
              <a:buFont typeface="Century Gothic" panose="020B0502020202020204" pitchFamily="34" charset="0"/>
              <a:buChar char="—"/>
              <a:defRPr sz="2000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2057400" indent="-22860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defRPr sz="20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2514600" indent="-228600" defTabSz="1827213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2400"/>
              </a:spcAft>
              <a:buFont typeface="Arial" panose="020B0604020202020204" pitchFamily="34" charset="0"/>
              <a:defRPr sz="2000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2971800" indent="-228600" defTabSz="1827213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2400"/>
              </a:spcAft>
              <a:buFont typeface="Arial" panose="020B0604020202020204" pitchFamily="34" charset="0"/>
              <a:defRPr sz="2000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3429000" indent="-228600" defTabSz="1827213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2400"/>
              </a:spcAft>
              <a:buFont typeface="Arial" panose="020B0604020202020204" pitchFamily="34" charset="0"/>
              <a:defRPr sz="2000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3886200" indent="-228600" defTabSz="1827213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2400"/>
              </a:spcAft>
              <a:buFont typeface="Arial" panose="020B0604020202020204" pitchFamily="34" charset="0"/>
              <a:defRPr sz="2000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zh-CN" altLang="en-US" sz="1800" b="1" dirty="0">
                <a:solidFill>
                  <a:schemeClr val="tx1"/>
                </a:solidFill>
              </a:rPr>
              <a:t>收集单模板</a:t>
            </a:r>
          </a:p>
        </p:txBody>
      </p:sp>
      <p:pic>
        <p:nvPicPr>
          <p:cNvPr id="18458" name="图片 8">
            <a:extLst>
              <a:ext uri="{FF2B5EF4-FFF2-40B4-BE49-F238E27FC236}">
                <a16:creationId xmlns:a16="http://schemas.microsoft.com/office/drawing/2014/main" id="{B0D81297-7C6E-4264-A2B8-CA5396FC90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9674" y="2736652"/>
            <a:ext cx="1798439" cy="164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5AED44A4-BDB5-49F1-B74B-01DCF9D2D958}"/>
              </a:ext>
            </a:extLst>
          </p:cNvPr>
          <p:cNvSpPr/>
          <p:nvPr/>
        </p:nvSpPr>
        <p:spPr>
          <a:xfrm>
            <a:off x="4406900" y="4273550"/>
            <a:ext cx="114300" cy="1143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FC649F7-DA7F-470D-A7B0-114D8DA4D91C}"/>
              </a:ext>
            </a:extLst>
          </p:cNvPr>
          <p:cNvSpPr/>
          <p:nvPr/>
        </p:nvSpPr>
        <p:spPr>
          <a:xfrm>
            <a:off x="4972050" y="4273550"/>
            <a:ext cx="114300" cy="1143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54992C-29EC-4986-99FC-CDE8C908F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3CE63-426B-1547-A04E-680A55968817}" type="datetime4">
              <a:rPr lang="en-GB" smtClean="0"/>
              <a:t>14 July 2020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A3D6353-1348-4138-862B-32566FCD8513}"/>
              </a:ext>
            </a:extLst>
          </p:cNvPr>
          <p:cNvSpPr txBox="1">
            <a:spLocks/>
          </p:cNvSpPr>
          <p:nvPr/>
        </p:nvSpPr>
        <p:spPr>
          <a:xfrm>
            <a:off x="1456908" y="91163"/>
            <a:ext cx="3762792" cy="752475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ts val="6400"/>
              </a:lnSpc>
              <a:spcBef>
                <a:spcPct val="0"/>
              </a:spcBef>
              <a:buNone/>
              <a:defRPr sz="60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300" dirty="0">
                <a:solidFill>
                  <a:srgbClr val="F4364C"/>
                </a:solidFill>
                <a:latin typeface="Century Gothic" panose="020B0502020202020204" pitchFamily="34" charset="0"/>
              </a:rPr>
              <a:t>Background</a:t>
            </a:r>
            <a:r>
              <a:rPr lang="zh-CN" altLang="en-US" sz="2300" dirty="0">
                <a:solidFill>
                  <a:srgbClr val="F4364C"/>
                </a:solidFill>
              </a:rPr>
              <a:t>（</a:t>
            </a:r>
            <a:r>
              <a:rPr lang="zh-CN" altLang="en-US" sz="2300" dirty="0">
                <a:solidFill>
                  <a:srgbClr val="F4364C"/>
                </a:solidFill>
                <a:latin typeface="Century Gothic" panose="020B0502020202020204" pitchFamily="34" charset="0"/>
              </a:rPr>
              <a:t>问题背景</a:t>
            </a:r>
            <a:r>
              <a:rPr lang="zh-CN" altLang="en-US" sz="2300" dirty="0">
                <a:solidFill>
                  <a:srgbClr val="F4364C"/>
                </a:solidFill>
              </a:rPr>
              <a:t>）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03072C1-6D67-4D50-9AA6-E34D2CF1BA58}"/>
              </a:ext>
            </a:extLst>
          </p:cNvPr>
          <p:cNvSpPr txBox="1"/>
          <p:nvPr/>
        </p:nvSpPr>
        <p:spPr>
          <a:xfrm>
            <a:off x="1456909" y="843638"/>
            <a:ext cx="3299301" cy="7287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defTabSz="342900">
              <a:lnSpc>
                <a:spcPts val="2138"/>
              </a:lnSpc>
              <a:spcAft>
                <a:spcPts val="900"/>
              </a:spcAft>
              <a:buFont typeface="Wingdings" panose="05000000000000000000" pitchFamily="2" charset="2"/>
              <a:buChar char="v"/>
            </a:pPr>
            <a:r>
              <a:rPr lang="en-US" sz="1500" dirty="0">
                <a:solidFill>
                  <a:srgbClr val="505150"/>
                </a:solidFill>
                <a:latin typeface="Century Gothic" panose="020B0502020202020204" pitchFamily="34" charset="0"/>
              </a:rPr>
              <a:t>Facing problem</a:t>
            </a:r>
            <a:r>
              <a:rPr lang="zh-CN" altLang="en-US" sz="1500" dirty="0">
                <a:solidFill>
                  <a:srgbClr val="505150"/>
                </a:solidFill>
              </a:rPr>
              <a:t>（面对的问题）</a:t>
            </a:r>
            <a:endParaRPr lang="en-US" altLang="zh-CN" sz="1500" dirty="0">
              <a:solidFill>
                <a:srgbClr val="505150"/>
              </a:solidFill>
            </a:endParaRPr>
          </a:p>
          <a:p>
            <a:pPr marL="285750" indent="-285750" defTabSz="342900">
              <a:lnSpc>
                <a:spcPts val="2138"/>
              </a:lnSpc>
              <a:spcAft>
                <a:spcPts val="900"/>
              </a:spcAft>
              <a:buFont typeface="Wingdings" panose="05000000000000000000" pitchFamily="2" charset="2"/>
              <a:buChar char="v"/>
            </a:pPr>
            <a:r>
              <a:rPr lang="en-US" sz="1500" dirty="0">
                <a:solidFill>
                  <a:srgbClr val="505150"/>
                </a:solidFill>
                <a:latin typeface="Century Gothic" panose="020B0502020202020204" pitchFamily="34" charset="0"/>
              </a:rPr>
              <a:t>Proposed idea</a:t>
            </a:r>
            <a:r>
              <a:rPr lang="zh-CN" altLang="en-US" sz="1500" dirty="0">
                <a:solidFill>
                  <a:srgbClr val="505150"/>
                </a:solidFill>
              </a:rPr>
              <a:t>（好的点子）</a:t>
            </a:r>
            <a:endParaRPr lang="en-US" sz="1500" dirty="0">
              <a:solidFill>
                <a:srgbClr val="505150"/>
              </a:solidFill>
            </a:endParaRPr>
          </a:p>
        </p:txBody>
      </p:sp>
      <p:pic>
        <p:nvPicPr>
          <p:cNvPr id="12" name="图片 2">
            <a:extLst>
              <a:ext uri="{FF2B5EF4-FFF2-40B4-BE49-F238E27FC236}">
                <a16:creationId xmlns:a16="http://schemas.microsoft.com/office/drawing/2014/main" id="{186D0DC3-D094-40E6-BE14-C036AF832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000" y="459296"/>
            <a:ext cx="3605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292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D3601-D888-417D-B750-4941C00FD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4844" y="528041"/>
            <a:ext cx="7236023" cy="752475"/>
          </a:xfrm>
        </p:spPr>
        <p:txBody>
          <a:bodyPr/>
          <a:lstStyle/>
          <a:p>
            <a:r>
              <a:rPr lang="en-US" altLang="zh-CN" dirty="0">
                <a:latin typeface="Century Gothic" panose="020B0502020202020204" pitchFamily="34" charset="0"/>
              </a:rPr>
              <a:t>Analysis and tests</a:t>
            </a:r>
            <a:r>
              <a:rPr lang="zh-CN" altLang="en-US" dirty="0"/>
              <a:t>（分析和测试）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5142F40-74FD-4843-9A20-903356C8A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0024" y="960041"/>
            <a:ext cx="7227689" cy="3121421"/>
          </a:xfrm>
        </p:spPr>
        <p:txBody>
          <a:bodyPr/>
          <a:lstStyle/>
          <a:p>
            <a:r>
              <a:rPr lang="en-US" altLang="zh-CN" dirty="0">
                <a:latin typeface="Century Gothic" panose="020B0502020202020204" pitchFamily="34" charset="0"/>
              </a:rPr>
              <a:t>Describe the experiment test you have done or your improved plan</a:t>
            </a:r>
          </a:p>
          <a:p>
            <a:r>
              <a:rPr lang="zh-CN" altLang="en-US" dirty="0"/>
              <a:t>（描述做的测试或者准备改善的方案）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54992C-29EC-4986-99FC-CDE8C908F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3CE63-426B-1547-A04E-680A55968817}" type="datetime4">
              <a:rPr lang="en-GB" smtClean="0"/>
              <a:t>14 July 2020</a:t>
            </a:fld>
            <a:endParaRPr lang="en-GB"/>
          </a:p>
        </p:txBody>
      </p:sp>
      <p:pic>
        <p:nvPicPr>
          <p:cNvPr id="7" name="图片 5">
            <a:extLst>
              <a:ext uri="{FF2B5EF4-FFF2-40B4-BE49-F238E27FC236}">
                <a16:creationId xmlns:a16="http://schemas.microsoft.com/office/drawing/2014/main" id="{A86292A4-A9D2-4936-AF1B-05FB02CB4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399" y="472278"/>
            <a:ext cx="34703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725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ED06E27-C9AD-408C-9C70-D587B18BF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2444" y="446644"/>
            <a:ext cx="7236023" cy="752475"/>
          </a:xfrm>
        </p:spPr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Result</a:t>
            </a:r>
            <a:r>
              <a:rPr lang="zh-CN" altLang="en-US" dirty="0"/>
              <a:t>（结果）</a:t>
            </a:r>
            <a:endParaRPr 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65EB6E6-E382-4A77-A582-5FC9B1FB37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155" y="881499"/>
            <a:ext cx="7227689" cy="3121421"/>
          </a:xfrm>
        </p:spPr>
        <p:txBody>
          <a:bodyPr/>
          <a:lstStyle/>
          <a:p>
            <a:r>
              <a:rPr lang="en-US" altLang="zh-CN" dirty="0">
                <a:latin typeface="Century Gothic" panose="020B0502020202020204" pitchFamily="34" charset="0"/>
              </a:rPr>
              <a:t>Show the results(need figures, table and something else that you feel you need to show ?)</a:t>
            </a:r>
            <a:endParaRPr lang="en-US" dirty="0">
              <a:latin typeface="Century Gothic" panose="020B0502020202020204" pitchFamily="34" charset="0"/>
            </a:endParaRPr>
          </a:p>
          <a:p>
            <a:r>
              <a:rPr lang="zh-CN" altLang="en-US" dirty="0"/>
              <a:t>分享测试或改善后的结果（需要图、表或者其他你觉得需要展示的方面）</a:t>
            </a:r>
            <a:endParaRPr 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7B85EBC-E468-4A86-9FDC-DC41A1823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00398-FCDE-2D49-A01F-C7EE3F729C9E}" type="datetime4">
              <a:rPr lang="en-GB" smtClean="0"/>
              <a:t>14 July 2020</a:t>
            </a:fld>
            <a:endParaRPr lang="en-GB"/>
          </a:p>
        </p:txBody>
      </p:sp>
      <p:pic>
        <p:nvPicPr>
          <p:cNvPr id="5" name="图片 5">
            <a:extLst>
              <a:ext uri="{FF2B5EF4-FFF2-40B4-BE49-F238E27FC236}">
                <a16:creationId xmlns:a16="http://schemas.microsoft.com/office/drawing/2014/main" id="{E877CB80-49AA-44B3-878C-ECE15E91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467" y="390881"/>
            <a:ext cx="34703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793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BE615F-C87C-4BF6-8C84-47C197921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988" y="378065"/>
            <a:ext cx="7236023" cy="391556"/>
          </a:xfrm>
        </p:spPr>
        <p:txBody>
          <a:bodyPr/>
          <a:lstStyle/>
          <a:p>
            <a:r>
              <a:rPr lang="en-US" altLang="zh-CN" dirty="0">
                <a:latin typeface="Century Gothic" panose="020B0502020202020204" pitchFamily="34" charset="0"/>
              </a:rPr>
              <a:t>Conclusion</a:t>
            </a:r>
            <a:r>
              <a:rPr lang="zh-CN" altLang="en-US" dirty="0"/>
              <a:t>（结论）</a:t>
            </a:r>
            <a:endParaRPr 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18CE3D2-FDB8-42A4-8275-4B77C7A55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00398-FCDE-2D49-A01F-C7EE3F729C9E}" type="datetime4">
              <a:rPr lang="en-GB" smtClean="0"/>
              <a:t>14 July 2020</a:t>
            </a:fld>
            <a:endParaRPr lang="en-GB"/>
          </a:p>
        </p:txBody>
      </p:sp>
      <p:graphicFrame>
        <p:nvGraphicFramePr>
          <p:cNvPr id="8" name="图示 7">
            <a:extLst>
              <a:ext uri="{FF2B5EF4-FFF2-40B4-BE49-F238E27FC236}">
                <a16:creationId xmlns:a16="http://schemas.microsoft.com/office/drawing/2014/main" id="{771EC991-D11F-461A-BCD1-5B3EA469AB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366134"/>
              </p:ext>
            </p:extLst>
          </p:nvPr>
        </p:nvGraphicFramePr>
        <p:xfrm>
          <a:off x="708661" y="2179320"/>
          <a:ext cx="3618012" cy="21564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图示 8">
            <a:extLst>
              <a:ext uri="{FF2B5EF4-FFF2-40B4-BE49-F238E27FC236}">
                <a16:creationId xmlns:a16="http://schemas.microsoft.com/office/drawing/2014/main" id="{CBDCA516-B996-496A-996C-C402D91B2D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7805140"/>
              </p:ext>
            </p:extLst>
          </p:nvPr>
        </p:nvGraphicFramePr>
        <p:xfrm>
          <a:off x="4817329" y="2179320"/>
          <a:ext cx="3618012" cy="21564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id="{F2D9D5E5-9AD3-4681-BFCC-49DCA43BDBFF}"/>
              </a:ext>
            </a:extLst>
          </p:cNvPr>
          <p:cNvSpPr/>
          <p:nvPr/>
        </p:nvSpPr>
        <p:spPr>
          <a:xfrm>
            <a:off x="1240728" y="1656100"/>
            <a:ext cx="2386392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28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Century Gothic" panose="020B0502020202020204" pitchFamily="34" charset="0"/>
              </a:rPr>
              <a:t>Benefit</a:t>
            </a:r>
            <a:endParaRPr lang="zh-CN" altLang="en-US" sz="28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F6C656E-443C-423B-A1BB-C5D2D2006986}"/>
              </a:ext>
            </a:extLst>
          </p:cNvPr>
          <p:cNvSpPr/>
          <p:nvPr/>
        </p:nvSpPr>
        <p:spPr>
          <a:xfrm>
            <a:off x="5516882" y="1706365"/>
            <a:ext cx="2386392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28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Century Gothic" panose="020B0502020202020204" pitchFamily="34" charset="0"/>
              </a:rPr>
              <a:t>Risk</a:t>
            </a:r>
            <a:endParaRPr lang="zh-CN" altLang="en-US" sz="28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C8FABAE-B04D-4756-ADC2-126580AC5F45}"/>
              </a:ext>
            </a:extLst>
          </p:cNvPr>
          <p:cNvSpPr txBox="1"/>
          <p:nvPr/>
        </p:nvSpPr>
        <p:spPr>
          <a:xfrm>
            <a:off x="1126273" y="719364"/>
            <a:ext cx="6400800" cy="998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lnSpc>
                <a:spcPts val="2138"/>
              </a:lnSpc>
              <a:spcAft>
                <a:spcPts val="900"/>
              </a:spcAft>
            </a:pPr>
            <a:r>
              <a:rPr lang="en-US" sz="1500" dirty="0">
                <a:solidFill>
                  <a:srgbClr val="505150"/>
                </a:solidFill>
                <a:latin typeface="Century Gothic" panose="020B0502020202020204" pitchFamily="34" charset="0"/>
              </a:rPr>
              <a:t>Describe what improvements you made, what the results are, and what are the benefits and risks?</a:t>
            </a:r>
          </a:p>
          <a:p>
            <a:pPr defTabSz="342900">
              <a:lnSpc>
                <a:spcPts val="2138"/>
              </a:lnSpc>
              <a:spcAft>
                <a:spcPts val="900"/>
              </a:spcAft>
            </a:pPr>
            <a:r>
              <a:rPr lang="zh-CN" altLang="en-US" sz="1500" dirty="0">
                <a:solidFill>
                  <a:srgbClr val="505150"/>
                </a:solidFill>
              </a:rPr>
              <a:t>（描述下你做了什么改善，成果是什么，带来的收益和风险是什么）</a:t>
            </a:r>
            <a:endParaRPr lang="en-US" sz="1500" dirty="0">
              <a:solidFill>
                <a:srgbClr val="505150"/>
              </a:solidFill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B6C48B3C-022F-4B99-B189-99655A3104AB}"/>
              </a:ext>
            </a:extLst>
          </p:cNvPr>
          <p:cNvCxnSpPr/>
          <p:nvPr/>
        </p:nvCxnSpPr>
        <p:spPr>
          <a:xfrm>
            <a:off x="4571999" y="2103120"/>
            <a:ext cx="0" cy="2346960"/>
          </a:xfrm>
          <a:prstGeom prst="line">
            <a:avLst/>
          </a:prstGeom>
          <a:ln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07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25585B-C9C9-4FCC-8AB0-38446BF29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922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E20F4A1-E665-40D3-B1FA-083D256F46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3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16460B-662E-4E86-9258-4E2734EFD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286" y="309562"/>
            <a:ext cx="7236023" cy="752475"/>
          </a:xfrm>
        </p:spPr>
        <p:txBody>
          <a:bodyPr/>
          <a:lstStyle/>
          <a:p>
            <a:r>
              <a:rPr lang="en-US" altLang="zh-CN" dirty="0">
                <a:latin typeface="Century Gothic" panose="020B0502020202020204" pitchFamily="34" charset="0"/>
              </a:rPr>
              <a:t>Appendix – Cost saving calculation</a:t>
            </a:r>
            <a:endParaRPr lang="zh-CN" altLang="en-US" dirty="0">
              <a:latin typeface="Century Gothic" panose="020B0502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DE9A3-C9A5-48D2-BE84-8E168DD31A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23" y="889000"/>
            <a:ext cx="7227689" cy="3784600"/>
          </a:xfrm>
        </p:spPr>
        <p:txBody>
          <a:bodyPr/>
          <a:lstStyle/>
          <a:p>
            <a:r>
              <a:rPr lang="en-US" altLang="zh-CN" b="1" dirty="0">
                <a:latin typeface="Century Gothic" panose="020B0502020202020204" pitchFamily="34" charset="0"/>
              </a:rPr>
              <a:t>Demand within this FY since implementation:</a:t>
            </a:r>
          </a:p>
          <a:p>
            <a:pPr>
              <a:lnSpc>
                <a:spcPct val="100000"/>
              </a:lnSpc>
            </a:pPr>
            <a:endParaRPr lang="en-US" altLang="zh-CN" sz="1050" dirty="0">
              <a:latin typeface="Century Gothic" panose="020B0502020202020204" pitchFamily="34" charset="0"/>
            </a:endParaRPr>
          </a:p>
          <a:p>
            <a:r>
              <a:rPr lang="en-US" altLang="zh-CN" b="1" dirty="0">
                <a:latin typeface="Century Gothic" panose="020B0502020202020204" pitchFamily="34" charset="0"/>
              </a:rPr>
              <a:t>Hard saving:</a:t>
            </a:r>
          </a:p>
          <a:p>
            <a:pPr lvl="1">
              <a:lnSpc>
                <a:spcPct val="100000"/>
              </a:lnSpc>
            </a:pPr>
            <a:r>
              <a:rPr lang="en-US" altLang="zh-CN" sz="1200" dirty="0">
                <a:latin typeface="Century Gothic" panose="020B0502020202020204" pitchFamily="34" charset="0"/>
              </a:rPr>
              <a:t>Pre improvement:</a:t>
            </a:r>
          </a:p>
          <a:p>
            <a:pPr lvl="1">
              <a:lnSpc>
                <a:spcPct val="100000"/>
              </a:lnSpc>
            </a:pPr>
            <a:r>
              <a:rPr lang="en-US" altLang="zh-CN" sz="1200" dirty="0">
                <a:latin typeface="Century Gothic" panose="020B0502020202020204" pitchFamily="34" charset="0"/>
              </a:rPr>
              <a:t>Post improvement:</a:t>
            </a:r>
            <a:endParaRPr lang="en-US" altLang="zh-CN" dirty="0">
              <a:latin typeface="Century Gothic" panose="020B0502020202020204" pitchFamily="34" charset="0"/>
            </a:endParaRPr>
          </a:p>
          <a:p>
            <a:r>
              <a:rPr lang="en-US" altLang="zh-CN" b="1" dirty="0">
                <a:latin typeface="Century Gothic" panose="020B0502020202020204" pitchFamily="34" charset="0"/>
              </a:rPr>
              <a:t>Soft saving/cost avoidance:</a:t>
            </a:r>
          </a:p>
          <a:p>
            <a:pPr lvl="1">
              <a:lnSpc>
                <a:spcPct val="100000"/>
              </a:lnSpc>
            </a:pPr>
            <a:r>
              <a:rPr lang="en-US" altLang="zh-CN" sz="1200" dirty="0">
                <a:latin typeface="Century Gothic" panose="020B0502020202020204" pitchFamily="34" charset="0"/>
              </a:rPr>
              <a:t>Pre improvement:</a:t>
            </a:r>
          </a:p>
          <a:p>
            <a:pPr lvl="1">
              <a:lnSpc>
                <a:spcPct val="100000"/>
              </a:lnSpc>
            </a:pPr>
            <a:r>
              <a:rPr lang="en-US" altLang="zh-CN" sz="1200" dirty="0">
                <a:latin typeface="Century Gothic" panose="020B0502020202020204" pitchFamily="34" charset="0"/>
              </a:rPr>
              <a:t>Post improvement:</a:t>
            </a:r>
            <a:endParaRPr lang="en-US" altLang="zh-CN" dirty="0">
              <a:latin typeface="Century Gothic" panose="020B0502020202020204" pitchFamily="34" charset="0"/>
            </a:endParaRPr>
          </a:p>
          <a:p>
            <a:r>
              <a:rPr lang="en-US" altLang="zh-CN" b="1" u="sng" dirty="0">
                <a:latin typeface="Century Gothic" panose="020B0502020202020204" pitchFamily="34" charset="0"/>
              </a:rPr>
              <a:t>Summary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Century Gothic" panose="020B0502020202020204" pitchFamily="34" charset="0"/>
              </a:rPr>
              <a:t>Material cost saving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Century Gothic" panose="020B0502020202020204" pitchFamily="34" charset="0"/>
              </a:rPr>
              <a:t>FTE cost saving:</a:t>
            </a:r>
            <a:endParaRPr lang="zh-CN" altLang="en-US" sz="1200" dirty="0">
              <a:latin typeface="Century Gothic" panose="020B0502020202020204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1DF59C-8B1C-459B-9B16-D9C8A6A24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85BCD-79A2-7E40-8A3E-3441AEC98FA2}" type="datetime4">
              <a:rPr lang="en-GB" smtClean="0">
                <a:latin typeface="Century Gothic" panose="020B0502020202020204" pitchFamily="34" charset="0"/>
              </a:rPr>
              <a:t>14 July 2020</a:t>
            </a:fld>
            <a:endParaRPr lang="en-GB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777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457">
            <a:extLst>
              <a:ext uri="{FF2B5EF4-FFF2-40B4-BE49-F238E27FC236}">
                <a16:creationId xmlns:a16="http://schemas.microsoft.com/office/drawing/2014/main" id="{D69682E3-A538-4991-A1CA-F6FFABC72B8D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068410" y="4130793"/>
            <a:ext cx="1005807" cy="909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fontAlgn="base">
              <a:spcBef>
                <a:spcPct val="5000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75" name="Rectangle 2458">
            <a:extLst>
              <a:ext uri="{FF2B5EF4-FFF2-40B4-BE49-F238E27FC236}">
                <a16:creationId xmlns:a16="http://schemas.microsoft.com/office/drawing/2014/main" id="{65F3DE68-8735-48C2-AD25-3CFDC723A46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434652" y="4117804"/>
            <a:ext cx="1004996" cy="917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fontAlgn="base">
              <a:spcBef>
                <a:spcPct val="5000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76" name="Text Box 7">
            <a:extLst>
              <a:ext uri="{FF2B5EF4-FFF2-40B4-BE49-F238E27FC236}">
                <a16:creationId xmlns:a16="http://schemas.microsoft.com/office/drawing/2014/main" id="{C62685F9-9483-4B88-A6B7-2B0F698F34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3766" y="518734"/>
            <a:ext cx="6032410" cy="32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2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Team members</a:t>
            </a:r>
            <a:r>
              <a:rPr lang="zh-CN" altLang="en-US" sz="92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：</a:t>
            </a:r>
            <a:endParaRPr lang="en-US" altLang="zh-CN" sz="92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77" name="Line 14">
            <a:extLst>
              <a:ext uri="{FF2B5EF4-FFF2-40B4-BE49-F238E27FC236}">
                <a16:creationId xmlns:a16="http://schemas.microsoft.com/office/drawing/2014/main" id="{3408CC5A-C07C-41C8-A109-B4E667143A99}"/>
              </a:ext>
            </a:extLst>
          </p:cNvPr>
          <p:cNvSpPr>
            <a:spLocks noChangeShapeType="1"/>
          </p:cNvSpPr>
          <p:nvPr/>
        </p:nvSpPr>
        <p:spPr bwMode="auto">
          <a:xfrm>
            <a:off x="2436308" y="935182"/>
            <a:ext cx="2" cy="401677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078" name="Line 275">
            <a:extLst>
              <a:ext uri="{FF2B5EF4-FFF2-40B4-BE49-F238E27FC236}">
                <a16:creationId xmlns:a16="http://schemas.microsoft.com/office/drawing/2014/main" id="{03ED7E23-1D92-4F02-B207-1E5F09C64EC9}"/>
              </a:ext>
            </a:extLst>
          </p:cNvPr>
          <p:cNvSpPr>
            <a:spLocks noChangeShapeType="1"/>
          </p:cNvSpPr>
          <p:nvPr/>
        </p:nvSpPr>
        <p:spPr bwMode="auto">
          <a:xfrm>
            <a:off x="6744514" y="941676"/>
            <a:ext cx="0" cy="401028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079" name="Text Box 277">
            <a:extLst>
              <a:ext uri="{FF2B5EF4-FFF2-40B4-BE49-F238E27FC236}">
                <a16:creationId xmlns:a16="http://schemas.microsoft.com/office/drawing/2014/main" id="{62E03747-5704-4762-8D58-FCB0371261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881" y="935182"/>
            <a:ext cx="1691770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Problem Statement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问题</a:t>
            </a:r>
            <a:endParaRPr lang="en-US" altLang="zh-CN" sz="716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80" name="Text Box 372">
            <a:extLst>
              <a:ext uri="{FF2B5EF4-FFF2-40B4-BE49-F238E27FC236}">
                <a16:creationId xmlns:a16="http://schemas.microsoft.com/office/drawing/2014/main" id="{A62BA862-57F6-46FB-AE23-B60AB45E74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92195" y="935182"/>
            <a:ext cx="4159611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olutions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方法和措施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81" name="Text Box 373">
            <a:extLst>
              <a:ext uri="{FF2B5EF4-FFF2-40B4-BE49-F238E27FC236}">
                <a16:creationId xmlns:a16="http://schemas.microsoft.com/office/drawing/2014/main" id="{EDF3FE37-ACDE-401F-898B-137456820F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92195" y="3368116"/>
            <a:ext cx="4159611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Benefits, Risks and Lessons 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优点、风险 和 缺憾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82" name="Text Box 380">
            <a:extLst>
              <a:ext uri="{FF2B5EF4-FFF2-40B4-BE49-F238E27FC236}">
                <a16:creationId xmlns:a16="http://schemas.microsoft.com/office/drawing/2014/main" id="{0FAD8773-E0EA-4B1E-8569-91E647DD8C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6599" y="941676"/>
            <a:ext cx="1597602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Performance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结果展示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83" name="Text Box 522">
            <a:extLst>
              <a:ext uri="{FF2B5EF4-FFF2-40B4-BE49-F238E27FC236}">
                <a16:creationId xmlns:a16="http://schemas.microsoft.com/office/drawing/2014/main" id="{6ABE2494-536F-4E9C-8EC0-8907AC6D5B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7328" y="3368116"/>
            <a:ext cx="1702323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Impact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现状对公司的影响</a:t>
            </a:r>
            <a:endParaRPr lang="en-US" altLang="zh-CN" sz="716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84" name="Rectangle 526">
            <a:extLst>
              <a:ext uri="{FF2B5EF4-FFF2-40B4-BE49-F238E27FC236}">
                <a16:creationId xmlns:a16="http://schemas.microsoft.com/office/drawing/2014/main" id="{CA66034C-8E05-4A0D-A25E-2CF3447EF5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547" y="875921"/>
            <a:ext cx="184731" cy="170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DCD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endParaRPr lang="zh-CN" altLang="zh-CN" sz="51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085" name="Line 2490">
            <a:extLst>
              <a:ext uri="{FF2B5EF4-FFF2-40B4-BE49-F238E27FC236}">
                <a16:creationId xmlns:a16="http://schemas.microsoft.com/office/drawing/2014/main" id="{8E38CF17-BEAC-40A6-97C9-2B5010AE3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13252" y="4118210"/>
            <a:ext cx="142063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 type="triangl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086" name="TextBox 1">
            <a:extLst>
              <a:ext uri="{FF2B5EF4-FFF2-40B4-BE49-F238E27FC236}">
                <a16:creationId xmlns:a16="http://schemas.microsoft.com/office/drawing/2014/main" id="{2CED9C7C-2A77-4C3D-A826-DFCC2D06CF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51668" y="206195"/>
            <a:ext cx="2872112" cy="2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27" b="1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(Project Name)</a:t>
            </a:r>
            <a:endParaRPr lang="zh-CN" altLang="en-US" sz="1227" b="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457">
            <a:extLst>
              <a:ext uri="{FF2B5EF4-FFF2-40B4-BE49-F238E27FC236}">
                <a16:creationId xmlns:a16="http://schemas.microsoft.com/office/drawing/2014/main" id="{7E187E75-CCBA-4A50-A848-94EADFFD06EC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068410" y="4130793"/>
            <a:ext cx="1005807" cy="909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fontAlgn="base">
              <a:spcBef>
                <a:spcPct val="5000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099" name="Rectangle 2458">
            <a:extLst>
              <a:ext uri="{FF2B5EF4-FFF2-40B4-BE49-F238E27FC236}">
                <a16:creationId xmlns:a16="http://schemas.microsoft.com/office/drawing/2014/main" id="{1929A9DC-33D0-4878-BF3B-662A7389D0FD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434652" y="4117804"/>
            <a:ext cx="1004996" cy="917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fontAlgn="base">
              <a:spcBef>
                <a:spcPct val="5000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00" name="Text Box 6">
            <a:extLst>
              <a:ext uri="{FF2B5EF4-FFF2-40B4-BE49-F238E27FC236}">
                <a16:creationId xmlns:a16="http://schemas.microsoft.com/office/drawing/2014/main" id="{B75289CB-79EC-4A21-ACF3-D91529BC66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6016" y="105533"/>
            <a:ext cx="5671163" cy="32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zh-CN" altLang="en-US" sz="2046" b="1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（参考）</a:t>
            </a:r>
            <a:r>
              <a:rPr lang="en-US" altLang="zh-CN" sz="2046" b="1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canner scope used for IHC image</a:t>
            </a:r>
          </a:p>
        </p:txBody>
      </p:sp>
      <p:sp>
        <p:nvSpPr>
          <p:cNvPr id="4101" name="Text Box 7">
            <a:extLst>
              <a:ext uri="{FF2B5EF4-FFF2-40B4-BE49-F238E27FC236}">
                <a16:creationId xmlns:a16="http://schemas.microsoft.com/office/drawing/2014/main" id="{984B5127-A31E-4898-B25A-67ED34A0F8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3766" y="518734"/>
            <a:ext cx="6032410" cy="32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2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Team members: Hongyang Pan, Xinxia zhang, Lucheng Zheng, Zhiqiang Lu, Ruifang Li, Chuan Tong, Qiong Yang, Yongfu Gao, Simei Guo, Hongjiao Huangfu, Xiwu Fan, Junhai Hu.   </a:t>
            </a:r>
            <a:endParaRPr lang="en-US" altLang="zh-CN" sz="92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02" name="Line 14">
            <a:extLst>
              <a:ext uri="{FF2B5EF4-FFF2-40B4-BE49-F238E27FC236}">
                <a16:creationId xmlns:a16="http://schemas.microsoft.com/office/drawing/2014/main" id="{4B13C3B5-3C89-4C9F-8658-623D3A4063F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17509" y="935182"/>
            <a:ext cx="4060" cy="397170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103" name="Line 275">
            <a:extLst>
              <a:ext uri="{FF2B5EF4-FFF2-40B4-BE49-F238E27FC236}">
                <a16:creationId xmlns:a16="http://schemas.microsoft.com/office/drawing/2014/main" id="{0EC20216-4322-44BF-8EEC-8FFD71DAAC09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2270" y="935182"/>
            <a:ext cx="8930" cy="400212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104" name="Text Box 277">
            <a:extLst>
              <a:ext uri="{FF2B5EF4-FFF2-40B4-BE49-F238E27FC236}">
                <a16:creationId xmlns:a16="http://schemas.microsoft.com/office/drawing/2014/main" id="{B7B9EBC2-6257-45D7-BB8F-6DDCA4B767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881" y="935182"/>
            <a:ext cx="1691770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Problem Statement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问题</a:t>
            </a:r>
            <a:endParaRPr lang="en-US" altLang="zh-CN" sz="716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05" name="Text Box 372">
            <a:extLst>
              <a:ext uri="{FF2B5EF4-FFF2-40B4-BE49-F238E27FC236}">
                <a16:creationId xmlns:a16="http://schemas.microsoft.com/office/drawing/2014/main" id="{282D1588-52E6-4DC4-BE1B-F5318DE950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92195" y="935182"/>
            <a:ext cx="4465656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olution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方法和措施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06" name="Text Box 373">
            <a:extLst>
              <a:ext uri="{FF2B5EF4-FFF2-40B4-BE49-F238E27FC236}">
                <a16:creationId xmlns:a16="http://schemas.microsoft.com/office/drawing/2014/main" id="{FFF7271E-0B6A-409C-91D9-B21751D863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92195" y="3425754"/>
            <a:ext cx="4465656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Benefits and Lessons 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优点 和 缺憾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07" name="Text Box 380">
            <a:extLst>
              <a:ext uri="{FF2B5EF4-FFF2-40B4-BE49-F238E27FC236}">
                <a16:creationId xmlns:a16="http://schemas.microsoft.com/office/drawing/2014/main" id="{5C614A50-7F82-4816-A684-25911F1BAF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4417" y="941676"/>
            <a:ext cx="1389784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how time</a:t>
            </a:r>
          </a:p>
        </p:txBody>
      </p:sp>
      <p:sp>
        <p:nvSpPr>
          <p:cNvPr id="4108" name="Rectangle 520">
            <a:extLst>
              <a:ext uri="{FF2B5EF4-FFF2-40B4-BE49-F238E27FC236}">
                <a16:creationId xmlns:a16="http://schemas.microsoft.com/office/drawing/2014/main" id="{91238583-26A6-4878-B86E-0C3562D957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693" y="1175472"/>
            <a:ext cx="1651180" cy="2229175"/>
          </a:xfrm>
          <a:prstGeom prst="rect">
            <a:avLst/>
          </a:prstGeom>
          <a:solidFill>
            <a:srgbClr val="C0C0C0">
              <a:alpha val="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9610" tIns="19805" rIns="39610" bIns="19805"/>
          <a:lstStyle>
            <a:lvl1pPr marL="457200" indent="-4572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GB" altLang="zh-CN" sz="716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Although testing in more than 100 kinds of tissues in QC phase, only 6-7 of the tissue images can be saved for each project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US" altLang="zh-CN" sz="716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IHC scientists need to check the slides for 4-6 hours per day, which is harmful for their eyesight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US" altLang="zh-CN" sz="716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Need to sort and save hundreds IHC slides per day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US" altLang="zh-CN" sz="716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Keep too many slides in office which is harmful for health as the mounting reagent contains xylene. </a:t>
            </a:r>
            <a:endParaRPr lang="en-US" altLang="zh-CN" sz="716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09" name="Text Box 522">
            <a:extLst>
              <a:ext uri="{FF2B5EF4-FFF2-40B4-BE49-F238E27FC236}">
                <a16:creationId xmlns:a16="http://schemas.microsoft.com/office/drawing/2014/main" id="{541AE2ED-265F-439A-A3B6-AC433598CD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693" y="3424961"/>
            <a:ext cx="1690958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Impact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现状对公司的影响</a:t>
            </a:r>
            <a:endParaRPr lang="en-US" altLang="zh-CN" sz="716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10" name="Rectangle 526">
            <a:extLst>
              <a:ext uri="{FF2B5EF4-FFF2-40B4-BE49-F238E27FC236}">
                <a16:creationId xmlns:a16="http://schemas.microsoft.com/office/drawing/2014/main" id="{843E8D39-58CE-4612-B96A-0C246726D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547" y="875921"/>
            <a:ext cx="184731" cy="170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DCD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endParaRPr lang="zh-CN" altLang="zh-CN" sz="51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111" name="Line 2490">
            <a:extLst>
              <a:ext uri="{FF2B5EF4-FFF2-40B4-BE49-F238E27FC236}">
                <a16:creationId xmlns:a16="http://schemas.microsoft.com/office/drawing/2014/main" id="{149A8E74-B995-47E0-9F96-75A6312EA432}"/>
              </a:ext>
            </a:extLst>
          </p:cNvPr>
          <p:cNvSpPr>
            <a:spLocks noChangeShapeType="1"/>
          </p:cNvSpPr>
          <p:nvPr/>
        </p:nvSpPr>
        <p:spPr bwMode="auto">
          <a:xfrm>
            <a:off x="4713252" y="4118210"/>
            <a:ext cx="142063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 type="triangl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520">
            <a:extLst>
              <a:ext uri="{FF2B5EF4-FFF2-40B4-BE49-F238E27FC236}">
                <a16:creationId xmlns:a16="http://schemas.microsoft.com/office/drawing/2014/main" id="{E176941D-8EAE-44D1-8888-E894F1700E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4925" y="3639254"/>
            <a:ext cx="4450232" cy="1073186"/>
          </a:xfrm>
          <a:prstGeom prst="rect">
            <a:avLst/>
          </a:prstGeom>
          <a:solidFill>
            <a:srgbClr val="C0C0C0">
              <a:alpha val="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9610" tIns="19805" rIns="39610" bIns="19805"/>
          <a:lstStyle>
            <a:lvl1pPr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89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716" b="1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Benefits</a:t>
            </a:r>
          </a:p>
          <a:p>
            <a:pPr marL="233812" indent="-233812" defTabSz="4189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Improve image quality and achieve the global alignment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Keep the valuable IHC data during the whole development phase.</a:t>
            </a: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marL="233812" indent="-233812" defTabSz="4189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Reduce the retest rate if customers and the PMS want to review the IHC data 6 months before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Save the time of sorting and keeping IHC data, don’t need to re-read slides when capture images, and don’t need to cost time to find previous slides.</a:t>
            </a:r>
          </a:p>
          <a:p>
            <a:pPr marL="175359" indent="-175359" defTabSz="418913" eaLnBrk="0" fontAlgn="base" hangingPunct="0">
              <a:spcBef>
                <a:spcPct val="0"/>
              </a:spcBef>
              <a:spcAft>
                <a:spcPts val="614"/>
              </a:spcAft>
              <a:buFontTx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  Be benefit to </a:t>
            </a: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</a:rPr>
              <a:t>employee’s health avoid too much exposure under xylene.</a:t>
            </a: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defTabSz="4189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716" b="1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Lessons</a:t>
            </a:r>
          </a:p>
          <a:p>
            <a:pPr marL="175359" indent="-175359" defTabSz="4189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The scan failure rate is about 5-10%, some slides needs to be re-scanned.</a:t>
            </a:r>
          </a:p>
          <a:p>
            <a:pPr marL="175359" indent="-175359" defTabSz="4189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Need large </a:t>
            </a: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</a:rPr>
              <a:t>storage to keep the IHC images, and need to sort and delete data in time.</a:t>
            </a: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marL="175359" indent="-175359" defTabSz="4189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marL="175359" indent="-175359" defTabSz="4189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defTabSz="41891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marL="233812" indent="-233812" defTabSz="4189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endParaRPr lang="en-US" altLang="zh-CN" sz="716" dirty="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grpSp>
        <p:nvGrpSpPr>
          <p:cNvPr id="4113" name="组合 8">
            <a:extLst>
              <a:ext uri="{FF2B5EF4-FFF2-40B4-BE49-F238E27FC236}">
                <a16:creationId xmlns:a16="http://schemas.microsoft.com/office/drawing/2014/main" id="{33848FD7-C0A2-4134-8D8C-C7048EDDE19B}"/>
              </a:ext>
            </a:extLst>
          </p:cNvPr>
          <p:cNvGrpSpPr>
            <a:grpSpLocks/>
          </p:cNvGrpSpPr>
          <p:nvPr/>
        </p:nvGrpSpPr>
        <p:grpSpPr bwMode="auto">
          <a:xfrm>
            <a:off x="2486512" y="1129200"/>
            <a:ext cx="4331710" cy="2260834"/>
            <a:chOff x="3668339" y="2208213"/>
            <a:chExt cx="8470900" cy="4421187"/>
          </a:xfrm>
        </p:grpSpPr>
        <p:pic>
          <p:nvPicPr>
            <p:cNvPr id="4119" name="图片 3">
              <a:extLst>
                <a:ext uri="{FF2B5EF4-FFF2-40B4-BE49-F238E27FC236}">
                  <a16:creationId xmlns:a16="http://schemas.microsoft.com/office/drawing/2014/main" id="{C1E4C302-60F9-4D0E-8742-B6E889EA5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1452" y="2640013"/>
              <a:ext cx="2335212" cy="176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20" name="图片 4">
              <a:extLst>
                <a:ext uri="{FF2B5EF4-FFF2-40B4-BE49-F238E27FC236}">
                  <a16:creationId xmlns:a16="http://schemas.microsoft.com/office/drawing/2014/main" id="{1B95E96E-01CD-4796-9B15-11BAA59C0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7339" y="2640013"/>
              <a:ext cx="2347913" cy="176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21" name="图片 5">
              <a:extLst>
                <a:ext uri="{FF2B5EF4-FFF2-40B4-BE49-F238E27FC236}">
                  <a16:creationId xmlns:a16="http://schemas.microsoft.com/office/drawing/2014/main" id="{CB4854F5-7572-4AFB-B78E-8BC2562E7A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1627" y="4857750"/>
              <a:ext cx="2335212" cy="1751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22" name="图片 6">
              <a:extLst>
                <a:ext uri="{FF2B5EF4-FFF2-40B4-BE49-F238E27FC236}">
                  <a16:creationId xmlns:a16="http://schemas.microsoft.com/office/drawing/2014/main" id="{8F9A701B-79FC-4FD1-BD76-961750D83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65927" y="4857750"/>
              <a:ext cx="2362200" cy="1771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23" name="图片 7">
              <a:extLst>
                <a:ext uri="{FF2B5EF4-FFF2-40B4-BE49-F238E27FC236}">
                  <a16:creationId xmlns:a16="http://schemas.microsoft.com/office/drawing/2014/main" id="{1603AEC2-7C21-4FD5-93E1-E4919D313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65927" y="2657475"/>
              <a:ext cx="2373312" cy="1744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24" name="图片 8">
              <a:extLst>
                <a:ext uri="{FF2B5EF4-FFF2-40B4-BE49-F238E27FC236}">
                  <a16:creationId xmlns:a16="http://schemas.microsoft.com/office/drawing/2014/main" id="{89A46675-943C-4706-8801-1C8E8AE682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9864" y="4862513"/>
              <a:ext cx="2327275" cy="1746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25" name="文本框 9">
              <a:extLst>
                <a:ext uri="{FF2B5EF4-FFF2-40B4-BE49-F238E27FC236}">
                  <a16:creationId xmlns:a16="http://schemas.microsoft.com/office/drawing/2014/main" id="{C0375244-2D49-4DBB-8EF9-7E3CB13A0E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68339" y="2208213"/>
              <a:ext cx="1522414" cy="611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32">
                  <a:solidFill>
                    <a:srgbClr val="000000"/>
                  </a:solidFill>
                  <a:latin typeface="Century Gothic" panose="020B0502020202020204" pitchFamily="34" charset="0"/>
                  <a:ea typeface="宋体" panose="02010600030101010101" pitchFamily="2" charset="-122"/>
                </a:rPr>
                <a:t>Before</a:t>
              </a:r>
              <a:endParaRPr lang="zh-CN" altLang="en-US" sz="1432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4126" name="文本框 51">
              <a:extLst>
                <a:ext uri="{FF2B5EF4-FFF2-40B4-BE49-F238E27FC236}">
                  <a16:creationId xmlns:a16="http://schemas.microsoft.com/office/drawing/2014/main" id="{6B245DDA-2325-48F0-94D3-D1C36DA20D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92152" y="4330701"/>
              <a:ext cx="1520826" cy="611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32">
                  <a:solidFill>
                    <a:srgbClr val="000000"/>
                  </a:solidFill>
                  <a:latin typeface="Century Gothic" panose="020B0502020202020204" pitchFamily="34" charset="0"/>
                  <a:ea typeface="宋体" panose="02010600030101010101" pitchFamily="2" charset="-122"/>
                </a:rPr>
                <a:t>Now</a:t>
              </a:r>
              <a:endParaRPr lang="zh-CN" altLang="en-US" sz="1432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4114" name="Rectangle 520">
            <a:extLst>
              <a:ext uri="{FF2B5EF4-FFF2-40B4-BE49-F238E27FC236}">
                <a16:creationId xmlns:a16="http://schemas.microsoft.com/office/drawing/2014/main" id="{C0821E59-05FA-4176-9021-88D09A2CA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822" y="3581617"/>
            <a:ext cx="1651180" cy="1355688"/>
          </a:xfrm>
          <a:prstGeom prst="rect">
            <a:avLst/>
          </a:prstGeom>
          <a:solidFill>
            <a:srgbClr val="C0C0C0">
              <a:alpha val="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9610" tIns="19805" rIns="39610" bIns="19805"/>
          <a:lstStyle>
            <a:lvl1pPr marL="457200" indent="-4572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191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191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Maximum to keep the slides for 6 months,  easy to lose the IHC data of previous products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GB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Can’t achieve the global alignment, and difficult to share the IHC data with other sites.</a:t>
            </a:r>
          </a:p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r>
              <a:rPr lang="en-GB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Xylene is harmful for health.</a:t>
            </a:r>
            <a:endParaRPr lang="zh-CN" altLang="zh-CN" sz="716" dirty="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  <a:p>
            <a:pPr marL="233812" indent="-233812" defTabSz="418913" fontAlgn="base">
              <a:spcBef>
                <a:spcPct val="0"/>
              </a:spcBef>
              <a:spcAft>
                <a:spcPts val="614"/>
              </a:spcAft>
              <a:buFont typeface="Arial" panose="020B0604020202020204" pitchFamily="34" charset="0"/>
              <a:buAutoNum type="arabicPeriod"/>
            </a:pPr>
            <a:endParaRPr lang="en-US" altLang="zh-CN" sz="818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</p:txBody>
      </p:sp>
      <p:pic>
        <p:nvPicPr>
          <p:cNvPr id="4115" name="图片 33">
            <a:extLst>
              <a:ext uri="{FF2B5EF4-FFF2-40B4-BE49-F238E27FC236}">
                <a16:creationId xmlns:a16="http://schemas.microsoft.com/office/drawing/2014/main" id="{55CD54D2-E7BC-408B-B751-F79F0C9BA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3"/>
          <a:stretch>
            <a:fillRect/>
          </a:stretch>
        </p:blipFill>
        <p:spPr bwMode="auto">
          <a:xfrm>
            <a:off x="7044712" y="1099163"/>
            <a:ext cx="1430374" cy="11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6" name="图片 3">
            <a:extLst>
              <a:ext uri="{FF2B5EF4-FFF2-40B4-BE49-F238E27FC236}">
                <a16:creationId xmlns:a16="http://schemas.microsoft.com/office/drawing/2014/main" id="{1CFA4F0C-3E07-413A-A7DD-6B2F334DF87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3973" y="4131198"/>
            <a:ext cx="1319158" cy="81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7" name="图片 4">
            <a:extLst>
              <a:ext uri="{FF2B5EF4-FFF2-40B4-BE49-F238E27FC236}">
                <a16:creationId xmlns:a16="http://schemas.microsoft.com/office/drawing/2014/main" id="{8839B654-494B-40FC-8693-93E01ADC0E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3973" y="3234170"/>
            <a:ext cx="1310229" cy="836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8" name="图片 9">
            <a:extLst>
              <a:ext uri="{FF2B5EF4-FFF2-40B4-BE49-F238E27FC236}">
                <a16:creationId xmlns:a16="http://schemas.microsoft.com/office/drawing/2014/main" id="{8031C0AC-EEA6-4E8E-82DB-2BD97219DAA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3973" y="2236481"/>
            <a:ext cx="1310229" cy="92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457">
            <a:extLst>
              <a:ext uri="{FF2B5EF4-FFF2-40B4-BE49-F238E27FC236}">
                <a16:creationId xmlns:a16="http://schemas.microsoft.com/office/drawing/2014/main" id="{3365D114-CEC9-4FB3-AA3F-6822350D4715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068815" y="4130387"/>
            <a:ext cx="1004996" cy="9092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fontAlgn="base">
              <a:spcBef>
                <a:spcPct val="5000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23" name="Rectangle 2458">
            <a:extLst>
              <a:ext uri="{FF2B5EF4-FFF2-40B4-BE49-F238E27FC236}">
                <a16:creationId xmlns:a16="http://schemas.microsoft.com/office/drawing/2014/main" id="{9D50E804-1547-4DA2-9BEE-815C13D275A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433840" y="4116992"/>
            <a:ext cx="1004996" cy="917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fontAlgn="base">
              <a:spcBef>
                <a:spcPct val="5000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24" name="Text Box 7">
            <a:extLst>
              <a:ext uri="{FF2B5EF4-FFF2-40B4-BE49-F238E27FC236}">
                <a16:creationId xmlns:a16="http://schemas.microsoft.com/office/drawing/2014/main" id="{201F8C78-33A5-4D9D-B2C1-6C476E2AF7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84102" y="714375"/>
            <a:ext cx="6032410" cy="32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21" b="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Proposed by</a:t>
            </a:r>
            <a:r>
              <a:rPr lang="zh-CN" altLang="en-US" sz="92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：</a:t>
            </a:r>
            <a:r>
              <a:rPr lang="en-US" altLang="zh-CN" sz="92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Lichun Yao</a:t>
            </a:r>
          </a:p>
          <a:p>
            <a:pPr defTabSz="748523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21" b="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Performed by</a:t>
            </a:r>
            <a:r>
              <a:rPr lang="en-US" altLang="zh-CN" sz="921" u="sng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: Lichun Yao, Mengli Zhan, Dan Li, Yanyan Zou, Bing Wang, Yuhan Luan</a:t>
            </a:r>
          </a:p>
        </p:txBody>
      </p:sp>
      <p:sp>
        <p:nvSpPr>
          <p:cNvPr id="5125" name="Line 14">
            <a:extLst>
              <a:ext uri="{FF2B5EF4-FFF2-40B4-BE49-F238E27FC236}">
                <a16:creationId xmlns:a16="http://schemas.microsoft.com/office/drawing/2014/main" id="{DEC26C6C-B709-4A08-928F-A62C9906E5A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399651" y="1099163"/>
            <a:ext cx="9741" cy="383814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26" name="Line 275">
            <a:extLst>
              <a:ext uri="{FF2B5EF4-FFF2-40B4-BE49-F238E27FC236}">
                <a16:creationId xmlns:a16="http://schemas.microsoft.com/office/drawing/2014/main" id="{D320F91F-D134-49DF-A962-F7C5D58A30C4}"/>
              </a:ext>
            </a:extLst>
          </p:cNvPr>
          <p:cNvSpPr>
            <a:spLocks noChangeShapeType="1"/>
          </p:cNvSpPr>
          <p:nvPr/>
        </p:nvSpPr>
        <p:spPr bwMode="auto">
          <a:xfrm>
            <a:off x="7065818" y="1099163"/>
            <a:ext cx="9741" cy="383814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27" name="Text Box 277">
            <a:extLst>
              <a:ext uri="{FF2B5EF4-FFF2-40B4-BE49-F238E27FC236}">
                <a16:creationId xmlns:a16="http://schemas.microsoft.com/office/drawing/2014/main" id="{C56A6261-5230-4F1B-9670-A5DC3EADF5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080" y="1100787"/>
            <a:ext cx="1691770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Problem Statement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问题</a:t>
            </a:r>
            <a:endParaRPr lang="en-US" altLang="zh-CN" sz="716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28" name="Text Box 372">
            <a:extLst>
              <a:ext uri="{FF2B5EF4-FFF2-40B4-BE49-F238E27FC236}">
                <a16:creationId xmlns:a16="http://schemas.microsoft.com/office/drawing/2014/main" id="{15B83164-801F-4553-93B0-52270175C2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99501" y="1106470"/>
            <a:ext cx="4465655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olution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方法和措施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29" name="Text Box 373">
            <a:extLst>
              <a:ext uri="{FF2B5EF4-FFF2-40B4-BE49-F238E27FC236}">
                <a16:creationId xmlns:a16="http://schemas.microsoft.com/office/drawing/2014/main" id="{CE00F242-BA9A-4FA0-AFC1-54D232A135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4335" y="3389223"/>
            <a:ext cx="4472962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Benefits and Lessons 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优点 和 缺憾</a:t>
            </a:r>
            <a:endParaRPr lang="en-US" altLang="zh-CN" sz="716" b="1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30" name="Text Box 380">
            <a:extLst>
              <a:ext uri="{FF2B5EF4-FFF2-40B4-BE49-F238E27FC236}">
                <a16:creationId xmlns:a16="http://schemas.microsoft.com/office/drawing/2014/main" id="{5635B179-96E5-43CE-887A-B4ABC21CAC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8031" y="1101599"/>
            <a:ext cx="1389784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how time</a:t>
            </a:r>
          </a:p>
        </p:txBody>
      </p:sp>
      <p:sp>
        <p:nvSpPr>
          <p:cNvPr id="5131" name="Text Box 522">
            <a:extLst>
              <a:ext uri="{FF2B5EF4-FFF2-40B4-BE49-F238E27FC236}">
                <a16:creationId xmlns:a16="http://schemas.microsoft.com/office/drawing/2014/main" id="{62DDABF5-6EE0-4138-A50C-D978C60E82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505" y="3368116"/>
            <a:ext cx="1690146" cy="20249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8523" fontAlgn="base">
              <a:spcBef>
                <a:spcPct val="50000"/>
              </a:spcBef>
              <a:spcAft>
                <a:spcPct val="0"/>
              </a:spcAft>
            </a:pPr>
            <a:r>
              <a:rPr lang="en-US" altLang="zh-CN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Impact </a:t>
            </a:r>
            <a:r>
              <a:rPr lang="zh-CN" altLang="en-US" sz="716" b="1">
                <a:solidFill>
                  <a:srgbClr val="FFFFFF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现状对公司的影响</a:t>
            </a:r>
            <a:endParaRPr lang="en-US" altLang="zh-CN" sz="716">
              <a:solidFill>
                <a:srgbClr val="FFFFFF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32" name="Rectangle 526">
            <a:extLst>
              <a:ext uri="{FF2B5EF4-FFF2-40B4-BE49-F238E27FC236}">
                <a16:creationId xmlns:a16="http://schemas.microsoft.com/office/drawing/2014/main" id="{7A5A756F-9703-4466-8B6A-C68013F85A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547" y="875921"/>
            <a:ext cx="184731" cy="170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463675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46367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748523" fontAlgn="base">
              <a:spcBef>
                <a:spcPct val="50000"/>
              </a:spcBef>
              <a:spcAft>
                <a:spcPct val="0"/>
              </a:spcAft>
            </a:pPr>
            <a:endParaRPr lang="zh-CN" altLang="zh-CN" sz="51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33" name="Line 2490">
            <a:extLst>
              <a:ext uri="{FF2B5EF4-FFF2-40B4-BE49-F238E27FC236}">
                <a16:creationId xmlns:a16="http://schemas.microsoft.com/office/drawing/2014/main" id="{4CCD45FB-3482-4D35-8EED-BDC33950968F}"/>
              </a:ext>
            </a:extLst>
          </p:cNvPr>
          <p:cNvSpPr>
            <a:spLocks noChangeShapeType="1"/>
          </p:cNvSpPr>
          <p:nvPr/>
        </p:nvSpPr>
        <p:spPr bwMode="auto">
          <a:xfrm>
            <a:off x="4713252" y="4118210"/>
            <a:ext cx="142063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34" name="文本框 2">
            <a:extLst>
              <a:ext uri="{FF2B5EF4-FFF2-40B4-BE49-F238E27FC236}">
                <a16:creationId xmlns:a16="http://schemas.microsoft.com/office/drawing/2014/main" id="{EB053120-7517-468D-BCD6-9F80DCC46D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319" y="129887"/>
            <a:ext cx="7548833" cy="658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636">
                <a:solidFill>
                  <a:srgbClr val="000000"/>
                </a:solidFill>
                <a:ea typeface="宋体" panose="02010600030101010101" pitchFamily="2" charset="-122"/>
              </a:rPr>
              <a:t> </a:t>
            </a:r>
            <a:r>
              <a:rPr lang="zh-CN" altLang="en-US" sz="1636" b="1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（参考） </a:t>
            </a:r>
            <a:r>
              <a:rPr lang="en-US" altLang="zh-CN" sz="1841" b="1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Recombinant Protein Production for Cross-reactivity test </a:t>
            </a:r>
          </a:p>
          <a:p>
            <a:pPr algn="ctr"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841" b="1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of antibodies</a:t>
            </a:r>
            <a:endParaRPr lang="zh-CN" altLang="en-US" sz="1841" b="1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135" name="文本框 3">
            <a:extLst>
              <a:ext uri="{FF2B5EF4-FFF2-40B4-BE49-F238E27FC236}">
                <a16:creationId xmlns:a16="http://schemas.microsoft.com/office/drawing/2014/main" id="{2CEE8DCA-B6D9-4BE5-BD00-7DC444D2A0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5446" y="1433621"/>
            <a:ext cx="1702323" cy="1524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716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Some recombinant proteins are produced for the cross-reactivity test of antibodies or sera. In the past, we purified these proteins from cell lysates for the test, which usually takes 2-3 days and costs lots of work and resources. </a:t>
            </a:r>
            <a:endParaRPr lang="zh-CN" altLang="en-US" sz="716">
              <a:solidFill>
                <a:srgbClr val="000000"/>
              </a:solidFill>
              <a:latin typeface="Century Gothic" panose="020B0502020202020204" pitchFamily="34" charset="0"/>
              <a:ea typeface="宋体" panose="0201060003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716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有些重组蛋白的生产是为了检验抗体或血清的交叉反应情况。过去，对这些蛋白项目我们提供的是纯化的蛋白质，通常需要</a:t>
            </a:r>
            <a:r>
              <a:rPr lang="en-US" altLang="zh-CN" sz="716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-3</a:t>
            </a:r>
            <a:r>
              <a:rPr lang="zh-CN" altLang="en-US" sz="716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周时间来生产，耗时耗力耗资源。</a:t>
            </a:r>
            <a:endParaRPr lang="en-US" altLang="zh-CN" sz="716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716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3088" name="文本框 4">
            <a:extLst>
              <a:ext uri="{FF2B5EF4-FFF2-40B4-BE49-F238E27FC236}">
                <a16:creationId xmlns:a16="http://schemas.microsoft.com/office/drawing/2014/main" id="{BBC93890-364F-4E76-B09F-877950A3E8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069" y="3656301"/>
            <a:ext cx="1677969" cy="166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The production of these proteins occupied ¼ of RDG group’s workload and RDG group is very busy due to the heavy workload</a:t>
            </a:r>
            <a:r>
              <a:rPr lang="zh-CN" altLang="en-US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，</a:t>
            </a: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which make some protein production cannot be completed on time.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这些检交叉项目蛋白的生产占据了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RDG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组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/4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的工作量，而我们组的工作量又多有繁重，大大影响了工作效率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,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导致项目有时候不能及时完成。</a:t>
            </a:r>
            <a:endParaRPr lang="en-US" altLang="zh-CN" sz="716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716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175359" indent="-175359" defTabSz="467624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endParaRPr lang="en-US" altLang="zh-CN" sz="818" dirty="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 marL="175359" indent="-175359" defTabSz="467624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endParaRPr lang="en-US" altLang="zh-CN" sz="818" dirty="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37" name="文本框 5">
            <a:extLst>
              <a:ext uri="{FF2B5EF4-FFF2-40B4-BE49-F238E27FC236}">
                <a16:creationId xmlns:a16="http://schemas.microsoft.com/office/drawing/2014/main" id="{951120F6-5D29-4534-AB46-EE72051FFF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7583" y="1306170"/>
            <a:ext cx="806631" cy="2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27">
                <a:solidFill>
                  <a:srgbClr val="000000"/>
                </a:solidFill>
                <a:ea typeface="宋体" panose="02010600030101010101" pitchFamily="2" charset="-122"/>
              </a:rPr>
              <a:t>Before</a:t>
            </a:r>
            <a:r>
              <a:rPr lang="zh-CN" altLang="en-US" sz="1227">
                <a:solidFill>
                  <a:srgbClr val="000000"/>
                </a:solidFill>
                <a:ea typeface="宋体" panose="02010600030101010101" pitchFamily="2" charset="-122"/>
              </a:rPr>
              <a:t>：</a:t>
            </a:r>
          </a:p>
        </p:txBody>
      </p:sp>
      <p:grpSp>
        <p:nvGrpSpPr>
          <p:cNvPr id="5138" name="组合 2">
            <a:extLst>
              <a:ext uri="{FF2B5EF4-FFF2-40B4-BE49-F238E27FC236}">
                <a16:creationId xmlns:a16="http://schemas.microsoft.com/office/drawing/2014/main" id="{31A7D46D-9E8E-4EA1-A858-815E56F72CC4}"/>
              </a:ext>
            </a:extLst>
          </p:cNvPr>
          <p:cNvGrpSpPr>
            <a:grpSpLocks/>
          </p:cNvGrpSpPr>
          <p:nvPr/>
        </p:nvGrpSpPr>
        <p:grpSpPr bwMode="auto">
          <a:xfrm>
            <a:off x="2664206" y="1578119"/>
            <a:ext cx="3856713" cy="579814"/>
            <a:chOff x="3524987" y="2644442"/>
            <a:chExt cx="7542143" cy="1134221"/>
          </a:xfrm>
        </p:grpSpPr>
        <p:sp>
          <p:nvSpPr>
            <p:cNvPr id="5172" name="文本框 6">
              <a:extLst>
                <a:ext uri="{FF2B5EF4-FFF2-40B4-BE49-F238E27FC236}">
                  <a16:creationId xmlns:a16="http://schemas.microsoft.com/office/drawing/2014/main" id="{C40163CF-79EB-41C1-A7D6-25A46F6325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24987" y="2778125"/>
              <a:ext cx="607277" cy="180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818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3" name="右箭头 7">
              <a:extLst>
                <a:ext uri="{FF2B5EF4-FFF2-40B4-BE49-F238E27FC236}">
                  <a16:creationId xmlns:a16="http://schemas.microsoft.com/office/drawing/2014/main" id="{51A30243-80B0-4B21-8A93-10675D645C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5574" y="2957812"/>
              <a:ext cx="400050" cy="265112"/>
            </a:xfrm>
            <a:prstGeom prst="rightArrow">
              <a:avLst>
                <a:gd name="adj1" fmla="val 50000"/>
                <a:gd name="adj2" fmla="val 49936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4" name="右箭头 10">
              <a:extLst>
                <a:ext uri="{FF2B5EF4-FFF2-40B4-BE49-F238E27FC236}">
                  <a16:creationId xmlns:a16="http://schemas.microsoft.com/office/drawing/2014/main" id="{73B02F28-843F-47D0-A9BC-189A51C88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772" y="2931318"/>
              <a:ext cx="648205" cy="284957"/>
            </a:xfrm>
            <a:prstGeom prst="rightArrow">
              <a:avLst>
                <a:gd name="adj1" fmla="val 50000"/>
                <a:gd name="adj2" fmla="val 49750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5" name="文本框 11">
              <a:extLst>
                <a:ext uri="{FF2B5EF4-FFF2-40B4-BE49-F238E27FC236}">
                  <a16:creationId xmlns:a16="http://schemas.microsoft.com/office/drawing/2014/main" id="{ABC2BFF5-05A4-4CDA-98EC-8E7FAAE005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10012" y="2644442"/>
              <a:ext cx="955674" cy="735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FF0000"/>
                  </a:solidFill>
                  <a:ea typeface="宋体" panose="02010600030101010101" pitchFamily="2" charset="-122"/>
                </a:rPr>
                <a:t>Overnight</a:t>
              </a:r>
              <a:endParaRPr lang="zh-CN" altLang="en-US" sz="614">
                <a:solidFill>
                  <a:srgbClr val="FF0000"/>
                </a:solidFill>
                <a:ea typeface="宋体" panose="02010600030101010101" pitchFamily="2" charset="-122"/>
              </a:endParaRPr>
            </a:p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614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6" name="右箭头 13">
              <a:extLst>
                <a:ext uri="{FF2B5EF4-FFF2-40B4-BE49-F238E27FC236}">
                  <a16:creationId xmlns:a16="http://schemas.microsoft.com/office/drawing/2014/main" id="{C40FDD96-BD97-49EE-8C79-D41B23FBE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4925" y="2922588"/>
              <a:ext cx="703548" cy="318681"/>
            </a:xfrm>
            <a:prstGeom prst="rightArrow">
              <a:avLst>
                <a:gd name="adj1" fmla="val 50000"/>
                <a:gd name="adj2" fmla="val 49836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7" name="文本框 15">
              <a:extLst>
                <a:ext uri="{FF2B5EF4-FFF2-40B4-BE49-F238E27FC236}">
                  <a16:creationId xmlns:a16="http://schemas.microsoft.com/office/drawing/2014/main" id="{C273A48F-AACE-4DBC-8A05-52BE7B9E6F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32410" y="2678908"/>
              <a:ext cx="1122891" cy="396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200ml LB</a:t>
              </a:r>
            </a:p>
          </p:txBody>
        </p:sp>
        <p:sp>
          <p:nvSpPr>
            <p:cNvPr id="5178" name="文本框 16">
              <a:extLst>
                <a:ext uri="{FF2B5EF4-FFF2-40B4-BE49-F238E27FC236}">
                  <a16:creationId xmlns:a16="http://schemas.microsoft.com/office/drawing/2014/main" id="{1FFBF7DE-9011-43C2-8983-FFD1396CF7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84544" y="3167063"/>
              <a:ext cx="621322" cy="611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7hr</a:t>
              </a:r>
              <a:endParaRPr lang="zh-CN" altLang="en-US" sz="716">
                <a:solidFill>
                  <a:srgbClr val="FF0000"/>
                </a:solidFill>
                <a:ea typeface="宋体" panose="02010600030101010101" pitchFamily="2" charset="-122"/>
              </a:endParaRPr>
            </a:p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716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9" name="右箭头 18">
              <a:extLst>
                <a:ext uri="{FF2B5EF4-FFF2-40B4-BE49-F238E27FC236}">
                  <a16:creationId xmlns:a16="http://schemas.microsoft.com/office/drawing/2014/main" id="{CD49FFAF-1336-4B52-B52F-701F35935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8244" y="2893583"/>
              <a:ext cx="344829" cy="329341"/>
            </a:xfrm>
            <a:prstGeom prst="rightArrow">
              <a:avLst>
                <a:gd name="adj1" fmla="val 50000"/>
                <a:gd name="adj2" fmla="val 49831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80" name="右箭头 20">
              <a:extLst>
                <a:ext uri="{FF2B5EF4-FFF2-40B4-BE49-F238E27FC236}">
                  <a16:creationId xmlns:a16="http://schemas.microsoft.com/office/drawing/2014/main" id="{61070B34-9FD3-46A1-9A89-887D732DB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36368" y="2946700"/>
              <a:ext cx="528608" cy="258464"/>
            </a:xfrm>
            <a:prstGeom prst="rightArrow">
              <a:avLst>
                <a:gd name="adj1" fmla="val 50000"/>
                <a:gd name="adj2" fmla="val 49927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81" name="文本框 22">
              <a:extLst>
                <a:ext uri="{FF2B5EF4-FFF2-40B4-BE49-F238E27FC236}">
                  <a16:creationId xmlns:a16="http://schemas.microsoft.com/office/drawing/2014/main" id="{31EC6D88-5770-4442-A47E-E5FBC4C670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60354" y="2674532"/>
              <a:ext cx="803141" cy="396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1 day</a:t>
              </a:r>
            </a:p>
          </p:txBody>
        </p:sp>
        <p:sp>
          <p:nvSpPr>
            <p:cNvPr id="5182" name="右箭头 23">
              <a:extLst>
                <a:ext uri="{FF2B5EF4-FFF2-40B4-BE49-F238E27FC236}">
                  <a16:creationId xmlns:a16="http://schemas.microsoft.com/office/drawing/2014/main" id="{8FDB7FFD-7CCA-4D68-B246-0082EB5FA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23854" y="2958886"/>
              <a:ext cx="712208" cy="232764"/>
            </a:xfrm>
            <a:prstGeom prst="rightArrow">
              <a:avLst>
                <a:gd name="adj1" fmla="val 50000"/>
                <a:gd name="adj2" fmla="val 49934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83" name="文本框 24">
              <a:extLst>
                <a:ext uri="{FF2B5EF4-FFF2-40B4-BE49-F238E27FC236}">
                  <a16:creationId xmlns:a16="http://schemas.microsoft.com/office/drawing/2014/main" id="{6BCAA271-314F-4B62-AA06-3BA004F170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20460" y="2662237"/>
              <a:ext cx="803141" cy="396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1 day</a:t>
              </a:r>
              <a:endParaRPr lang="zh-CN" altLang="en-US" sz="716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84" name="右箭头 29">
              <a:extLst>
                <a:ext uri="{FF2B5EF4-FFF2-40B4-BE49-F238E27FC236}">
                  <a16:creationId xmlns:a16="http://schemas.microsoft.com/office/drawing/2014/main" id="{1274ED06-0CEC-433B-8495-EBF723038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6772" y="2971290"/>
              <a:ext cx="628650" cy="304800"/>
            </a:xfrm>
            <a:prstGeom prst="rightArrow">
              <a:avLst>
                <a:gd name="adj1" fmla="val 50000"/>
                <a:gd name="adj2" fmla="val 49949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85" name="文本框 32">
              <a:extLst>
                <a:ext uri="{FF2B5EF4-FFF2-40B4-BE49-F238E27FC236}">
                  <a16:creationId xmlns:a16="http://schemas.microsoft.com/office/drawing/2014/main" id="{876051EE-4AFE-473E-B7EF-14E5BCEC69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263989" y="2709620"/>
              <a:ext cx="803141" cy="580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1 day</a:t>
              </a:r>
            </a:p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614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</p:grpSp>
      <p:sp>
        <p:nvSpPr>
          <p:cNvPr id="5139" name="文本框 34">
            <a:extLst>
              <a:ext uri="{FF2B5EF4-FFF2-40B4-BE49-F238E27FC236}">
                <a16:creationId xmlns:a16="http://schemas.microsoft.com/office/drawing/2014/main" id="{4EA0156B-B10B-4B5F-95D5-A545F1C2F3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1936" y="2209692"/>
            <a:ext cx="673582" cy="28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27">
                <a:solidFill>
                  <a:srgbClr val="000000"/>
                </a:solidFill>
                <a:ea typeface="宋体" panose="02010600030101010101" pitchFamily="2" charset="-122"/>
              </a:rPr>
              <a:t>After</a:t>
            </a:r>
            <a:r>
              <a:rPr lang="zh-CN" altLang="en-US" sz="1227">
                <a:solidFill>
                  <a:srgbClr val="000000"/>
                </a:solidFill>
                <a:ea typeface="宋体" panose="02010600030101010101" pitchFamily="2" charset="-122"/>
              </a:rPr>
              <a:t>：</a:t>
            </a:r>
          </a:p>
        </p:txBody>
      </p:sp>
      <p:sp>
        <p:nvSpPr>
          <p:cNvPr id="3127" name="文本框 51">
            <a:extLst>
              <a:ext uri="{FF2B5EF4-FFF2-40B4-BE49-F238E27FC236}">
                <a16:creationId xmlns:a16="http://schemas.microsoft.com/office/drawing/2014/main" id="{2C54F15D-A1E1-4555-B32C-464381D33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4336" y="3587299"/>
            <a:ext cx="4508680" cy="1382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818" b="1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818" b="1" dirty="0">
                <a:solidFill>
                  <a:srgbClr val="000000"/>
                </a:solidFill>
                <a:latin typeface="Century Gothic" panose="020B0502020202020204" pitchFamily="34" charset="0"/>
                <a:ea typeface="华文仿宋" panose="02010600040101010101" pitchFamily="2" charset="-122"/>
              </a:rPr>
              <a:t>Benefits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818" b="1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  <a:p>
            <a:pPr marL="175359" indent="-175359" defTabSz="467624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The new method can save 1-2 weeks for protein production for cross-reactivity test projects, and save 0.5 FTE as well.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检交叉项目周期至少缩短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-2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周，节省了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0.5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个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FTE</a:t>
            </a:r>
          </a:p>
          <a:p>
            <a:pPr marL="184290"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818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175359" indent="-175359" defTabSz="467624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 startAt="2"/>
              <a:defRPr/>
            </a:pPr>
            <a:r>
              <a:rPr lang="en-US" altLang="zh-CN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The new method does not need protein purification, which saves 900 RMB Yuan  each project and  save around 90000 RMB Yuan each year.</a:t>
            </a:r>
            <a:r>
              <a:rPr lang="zh-CN" altLang="en-US" sz="716" dirty="0">
                <a:solidFill>
                  <a:srgbClr val="000000"/>
                </a:solidFill>
                <a:latin typeface="Century Gothic" panose="020B0502020202020204" pitchFamily="34" charset="0"/>
                <a:ea typeface="宋体" panose="02010600030101010101" pitchFamily="2" charset="-122"/>
              </a:rPr>
              <a:t>  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新方法省去了蛋白质纯化过程，所以每个项目可以节省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900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，每年可节省</a:t>
            </a:r>
            <a:r>
              <a:rPr lang="en-US" altLang="zh-CN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90000</a:t>
            </a:r>
            <a:r>
              <a:rPr lang="zh-CN" altLang="en-US" sz="716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。</a:t>
            </a:r>
            <a:endParaRPr lang="en-US" altLang="zh-CN" sz="716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818" b="1" dirty="0">
              <a:solidFill>
                <a:srgbClr val="000000"/>
              </a:solidFill>
              <a:latin typeface="Century Gothic" panose="020B0502020202020204" pitchFamily="34" charset="0"/>
              <a:ea typeface="华文仿宋" panose="02010600040101010101" pitchFamily="2" charset="-122"/>
            </a:endParaRPr>
          </a:p>
        </p:txBody>
      </p:sp>
      <p:grpSp>
        <p:nvGrpSpPr>
          <p:cNvPr id="5141" name="组合 4">
            <a:extLst>
              <a:ext uri="{FF2B5EF4-FFF2-40B4-BE49-F238E27FC236}">
                <a16:creationId xmlns:a16="http://schemas.microsoft.com/office/drawing/2014/main" id="{B96B6DFD-E044-4111-AB2F-5A77526A0BFB}"/>
              </a:ext>
            </a:extLst>
          </p:cNvPr>
          <p:cNvGrpSpPr>
            <a:grpSpLocks/>
          </p:cNvGrpSpPr>
          <p:nvPr/>
        </p:nvGrpSpPr>
        <p:grpSpPr bwMode="auto">
          <a:xfrm>
            <a:off x="2832335" y="2386661"/>
            <a:ext cx="3597852" cy="920663"/>
            <a:chOff x="3780950" y="4320570"/>
            <a:chExt cx="7035901" cy="1801092"/>
          </a:xfrm>
        </p:grpSpPr>
        <p:sp>
          <p:nvSpPr>
            <p:cNvPr id="5159" name="右箭头 36">
              <a:extLst>
                <a:ext uri="{FF2B5EF4-FFF2-40B4-BE49-F238E27FC236}">
                  <a16:creationId xmlns:a16="http://schemas.microsoft.com/office/drawing/2014/main" id="{EE699310-D7D4-48BB-B133-68F632FBA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0950" y="5068888"/>
              <a:ext cx="311150" cy="315912"/>
            </a:xfrm>
            <a:prstGeom prst="rightArrow">
              <a:avLst>
                <a:gd name="adj1" fmla="val 50000"/>
                <a:gd name="adj2" fmla="val 42056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0" name="右箭头 38">
              <a:extLst>
                <a:ext uri="{FF2B5EF4-FFF2-40B4-BE49-F238E27FC236}">
                  <a16:creationId xmlns:a16="http://schemas.microsoft.com/office/drawing/2014/main" id="{A5153B17-E29A-4521-A549-59DAE04DCB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1419" y="5081588"/>
              <a:ext cx="724382" cy="315912"/>
            </a:xfrm>
            <a:prstGeom prst="rightArrow">
              <a:avLst>
                <a:gd name="adj1" fmla="val 50000"/>
                <a:gd name="adj2" fmla="val 49904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1" name="文本框 39">
              <a:extLst>
                <a:ext uri="{FF2B5EF4-FFF2-40B4-BE49-F238E27FC236}">
                  <a16:creationId xmlns:a16="http://schemas.microsoft.com/office/drawing/2014/main" id="{6C050CBF-E501-424F-B42F-6A70446192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66248" y="4806951"/>
              <a:ext cx="1025710" cy="550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FF0000"/>
                  </a:solidFill>
                  <a:ea typeface="宋体" panose="02010600030101010101" pitchFamily="2" charset="-122"/>
                </a:rPr>
                <a:t>Overnight</a:t>
              </a:r>
              <a:endParaRPr lang="zh-CN" altLang="en-US" sz="614">
                <a:solidFill>
                  <a:srgbClr val="FF0000"/>
                </a:solidFill>
                <a:ea typeface="宋体" panose="02010600030101010101" pitchFamily="2" charset="-122"/>
              </a:endParaRPr>
            </a:p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614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2" name="右箭头 41">
              <a:extLst>
                <a:ext uri="{FF2B5EF4-FFF2-40B4-BE49-F238E27FC236}">
                  <a16:creationId xmlns:a16="http://schemas.microsoft.com/office/drawing/2014/main" id="{6D8E7D6D-1744-4F53-A897-C1BDBC7F0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2975" y="5068888"/>
              <a:ext cx="823913" cy="315912"/>
            </a:xfrm>
            <a:prstGeom prst="rightArrow">
              <a:avLst>
                <a:gd name="adj1" fmla="val 50000"/>
                <a:gd name="adj2" fmla="val 49927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3" name="文本框 42">
              <a:extLst>
                <a:ext uri="{FF2B5EF4-FFF2-40B4-BE49-F238E27FC236}">
                  <a16:creationId xmlns:a16="http://schemas.microsoft.com/office/drawing/2014/main" id="{BF54902B-9820-47F9-8D6D-77D8AFA8B2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75350" y="4806951"/>
              <a:ext cx="972418" cy="396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5ml  LB</a:t>
              </a:r>
            </a:p>
          </p:txBody>
        </p:sp>
        <p:sp>
          <p:nvSpPr>
            <p:cNvPr id="5164" name="文本框 43">
              <a:extLst>
                <a:ext uri="{FF2B5EF4-FFF2-40B4-BE49-F238E27FC236}">
                  <a16:creationId xmlns:a16="http://schemas.microsoft.com/office/drawing/2014/main" id="{C00DAB67-E298-4E91-8E06-0C7A3F701B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35676" y="5397501"/>
              <a:ext cx="621320" cy="611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16">
                  <a:solidFill>
                    <a:srgbClr val="FF0000"/>
                  </a:solidFill>
                  <a:ea typeface="宋体" panose="02010600030101010101" pitchFamily="2" charset="-122"/>
                </a:rPr>
                <a:t>7hr</a:t>
              </a:r>
              <a:endParaRPr lang="zh-CN" altLang="en-US" sz="716">
                <a:solidFill>
                  <a:srgbClr val="FF0000"/>
                </a:solidFill>
                <a:ea typeface="宋体" panose="02010600030101010101" pitchFamily="2" charset="-122"/>
              </a:endParaRPr>
            </a:p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716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5" name="文本框 44">
              <a:extLst>
                <a:ext uri="{FF2B5EF4-FFF2-40B4-BE49-F238E27FC236}">
                  <a16:creationId xmlns:a16="http://schemas.microsoft.com/office/drawing/2014/main" id="{5D582F04-8AE3-4DA1-8994-9BCC56FCBF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07662" y="4927600"/>
              <a:ext cx="499564" cy="1807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6" name="文本框 46">
              <a:extLst>
                <a:ext uri="{FF2B5EF4-FFF2-40B4-BE49-F238E27FC236}">
                  <a16:creationId xmlns:a16="http://schemas.microsoft.com/office/drawing/2014/main" id="{CBC64729-1503-4DD0-9B74-E12E56443E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0800000">
              <a:off x="6674226" y="4416673"/>
              <a:ext cx="915614" cy="1358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000000"/>
                  </a:solidFill>
                  <a:ea typeface="宋体" panose="02010600030101010101" pitchFamily="2" charset="-122"/>
                </a:rPr>
                <a:t>Calculate bacterial cultures Vol for analysis</a:t>
              </a:r>
              <a:endParaRPr lang="zh-CN" altLang="en-US" sz="614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7" name="右箭头 47">
              <a:extLst>
                <a:ext uri="{FF2B5EF4-FFF2-40B4-BE49-F238E27FC236}">
                  <a16:creationId xmlns:a16="http://schemas.microsoft.com/office/drawing/2014/main" id="{5DAB5DE0-7293-4AD7-9690-7D36EBBDB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2038" y="5068888"/>
              <a:ext cx="1963737" cy="315912"/>
            </a:xfrm>
            <a:prstGeom prst="rightArrow">
              <a:avLst>
                <a:gd name="adj1" fmla="val 50000"/>
                <a:gd name="adj2" fmla="val 49930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en-US" altLang="zh-CN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68" name="文本框 48">
              <a:extLst>
                <a:ext uri="{FF2B5EF4-FFF2-40B4-BE49-F238E27FC236}">
                  <a16:creationId xmlns:a16="http://schemas.microsoft.com/office/drawing/2014/main" id="{3B422A11-8971-45FD-940E-F1D24B2317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78138" y="4673557"/>
              <a:ext cx="2260823" cy="550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FF0000"/>
                  </a:solidFill>
                  <a:ea typeface="宋体" panose="02010600030101010101" pitchFamily="2" charset="-122"/>
                </a:rPr>
                <a:t>Volume of bacterial cultures</a:t>
              </a:r>
            </a:p>
            <a:p>
              <a:pPr algn="ctr"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FF0000"/>
                  </a:solidFill>
                  <a:ea typeface="宋体" panose="02010600030101010101" pitchFamily="2" charset="-122"/>
                </a:rPr>
                <a:t>=300/OD600</a:t>
              </a:r>
            </a:p>
          </p:txBody>
        </p:sp>
        <p:sp>
          <p:nvSpPr>
            <p:cNvPr id="5169" name="文本框 49">
              <a:extLst>
                <a:ext uri="{FF2B5EF4-FFF2-40B4-BE49-F238E27FC236}">
                  <a16:creationId xmlns:a16="http://schemas.microsoft.com/office/drawing/2014/main" id="{91F07D5C-1E6B-4D59-ABD1-FAAD60421D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0800000">
              <a:off x="9105864" y="4320570"/>
              <a:ext cx="1285270" cy="142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000000"/>
                  </a:solidFill>
                  <a:ea typeface="宋体" panose="02010600030101010101" pitchFamily="2" charset="-122"/>
                </a:rPr>
                <a:t>Protein expression validation and quantitation via SDS-PAGE</a:t>
              </a:r>
              <a:endParaRPr lang="zh-CN" altLang="en-US" sz="614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5170" name="文本框 50">
              <a:extLst>
                <a:ext uri="{FF2B5EF4-FFF2-40B4-BE49-F238E27FC236}">
                  <a16:creationId xmlns:a16="http://schemas.microsoft.com/office/drawing/2014/main" id="{25436B6A-CD88-4DDE-8ACE-2DA635B9BB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6210" y="5386344"/>
              <a:ext cx="1844675" cy="735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676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614">
                  <a:solidFill>
                    <a:srgbClr val="FF0000"/>
                  </a:solidFill>
                  <a:ea typeface="宋体" panose="02010600030101010101" pitchFamily="2" charset="-122"/>
                </a:rPr>
                <a:t>Suspend bacteria pellet with 30ul loading buffer </a:t>
              </a:r>
            </a:p>
          </p:txBody>
        </p:sp>
        <p:sp>
          <p:nvSpPr>
            <p:cNvPr id="5171" name="右箭头 1">
              <a:extLst>
                <a:ext uri="{FF2B5EF4-FFF2-40B4-BE49-F238E27FC236}">
                  <a16:creationId xmlns:a16="http://schemas.microsoft.com/office/drawing/2014/main" id="{649040A6-857B-4D86-B2C0-D19B250F3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12013" y="5099253"/>
              <a:ext cx="604838" cy="327025"/>
            </a:xfrm>
            <a:prstGeom prst="rightArrow">
              <a:avLst>
                <a:gd name="adj1" fmla="val 50000"/>
                <a:gd name="adj2" fmla="val 49997"/>
              </a:avLst>
            </a:prstGeom>
            <a:solidFill>
              <a:srgbClr val="DCDCDC"/>
            </a:solidFill>
            <a:ln w="9525">
              <a:solidFill>
                <a:srgbClr val="FFC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1463675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463675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748523" fontAlgn="base">
                <a:spcBef>
                  <a:spcPct val="50000"/>
                </a:spcBef>
                <a:spcAft>
                  <a:spcPct val="0"/>
                </a:spcAft>
              </a:pPr>
              <a:endParaRPr lang="zh-CN" altLang="en-US" sz="46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</p:grpSp>
      <p:pic>
        <p:nvPicPr>
          <p:cNvPr id="5142" name="图片 67">
            <a:extLst>
              <a:ext uri="{FF2B5EF4-FFF2-40B4-BE49-F238E27FC236}">
                <a16:creationId xmlns:a16="http://schemas.microsoft.com/office/drawing/2014/main" id="{8C189FB5-0EF2-4C7B-8D4B-5A50D05FA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8031" y="1337018"/>
            <a:ext cx="399401" cy="156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3" name="图片 68">
            <a:extLst>
              <a:ext uri="{FF2B5EF4-FFF2-40B4-BE49-F238E27FC236}">
                <a16:creationId xmlns:a16="http://schemas.microsoft.com/office/drawing/2014/main" id="{B73F964B-9B7A-459F-877F-15E0DC68EC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904" y="1336206"/>
            <a:ext cx="435931" cy="1552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4" name="图片 69">
            <a:extLst>
              <a:ext uri="{FF2B5EF4-FFF2-40B4-BE49-F238E27FC236}">
                <a16:creationId xmlns:a16="http://schemas.microsoft.com/office/drawing/2014/main" id="{31BBF475-510B-47F2-9ADA-D116E8190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3988" y="1329712"/>
            <a:ext cx="419696" cy="155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45" name="文本框 2">
            <a:extLst>
              <a:ext uri="{FF2B5EF4-FFF2-40B4-BE49-F238E27FC236}">
                <a16:creationId xmlns:a16="http://schemas.microsoft.com/office/drawing/2014/main" id="{451052ED-183A-4E27-9C7D-3213D93B4857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2475247" y="1517235"/>
            <a:ext cx="468205" cy="553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lasmid transformation</a:t>
            </a:r>
            <a:endParaRPr lang="zh-CN" altLang="en-US" sz="614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46" name="文本框 3">
            <a:extLst>
              <a:ext uri="{FF2B5EF4-FFF2-40B4-BE49-F238E27FC236}">
                <a16:creationId xmlns:a16="http://schemas.microsoft.com/office/drawing/2014/main" id="{0C87C597-358E-4EF4-8187-F6F36D939A4E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871707" y="1627400"/>
            <a:ext cx="566629" cy="281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ick single colony</a:t>
            </a:r>
            <a:endParaRPr lang="zh-CN" altLang="en-US" sz="614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47" name="文本框 4">
            <a:extLst>
              <a:ext uri="{FF2B5EF4-FFF2-40B4-BE49-F238E27FC236}">
                <a16:creationId xmlns:a16="http://schemas.microsoft.com/office/drawing/2014/main" id="{B378F4EE-1954-442A-BB40-2C28ACC2046E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3543561" y="1542401"/>
            <a:ext cx="468205" cy="46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Bacteria culture expression</a:t>
            </a:r>
            <a:endParaRPr lang="zh-CN" altLang="en-US" sz="614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48" name="文本框 5">
            <a:extLst>
              <a:ext uri="{FF2B5EF4-FFF2-40B4-BE49-F238E27FC236}">
                <a16:creationId xmlns:a16="http://schemas.microsoft.com/office/drawing/2014/main" id="{917F7DA2-145A-4764-89EB-98AA935D6280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4286440" y="1505058"/>
            <a:ext cx="444481" cy="47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Bacteria collection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49" name="文本框 6">
            <a:extLst>
              <a:ext uri="{FF2B5EF4-FFF2-40B4-BE49-F238E27FC236}">
                <a16:creationId xmlns:a16="http://schemas.microsoft.com/office/drawing/2014/main" id="{3F9D4D64-BD16-49F7-813E-C96B2A044026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4720748" y="1547271"/>
            <a:ext cx="444481" cy="448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Cell disruption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50" name="文本框 7">
            <a:extLst>
              <a:ext uri="{FF2B5EF4-FFF2-40B4-BE49-F238E27FC236}">
                <a16:creationId xmlns:a16="http://schemas.microsoft.com/office/drawing/2014/main" id="{77EAB096-1222-4F18-A28A-825972E93EBD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5207226" y="1497584"/>
            <a:ext cx="565817" cy="517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rotein Purification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46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51" name="文本框 8">
            <a:extLst>
              <a:ext uri="{FF2B5EF4-FFF2-40B4-BE49-F238E27FC236}">
                <a16:creationId xmlns:a16="http://schemas.microsoft.com/office/drawing/2014/main" id="{48EB6AB6-9DB3-4240-90A3-8B93CCD233CA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5829571" y="1575684"/>
            <a:ext cx="515269" cy="409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rotein refolding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46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52" name="文本框 9">
            <a:extLst>
              <a:ext uri="{FF2B5EF4-FFF2-40B4-BE49-F238E27FC236}">
                <a16:creationId xmlns:a16="http://schemas.microsoft.com/office/drawing/2014/main" id="{04ADD458-E586-4516-861D-06B51DB63770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6435075" y="1457163"/>
            <a:ext cx="538994" cy="558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rotein quantitation and delivery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53" name="文本框 13">
            <a:extLst>
              <a:ext uri="{FF2B5EF4-FFF2-40B4-BE49-F238E27FC236}">
                <a16:creationId xmlns:a16="http://schemas.microsoft.com/office/drawing/2014/main" id="{B9275C2F-6BA0-4440-ADDD-05845AD9B033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6358127" y="2613152"/>
            <a:ext cx="444481" cy="409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rotein delivery</a:t>
            </a:r>
          </a:p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 sz="46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pic>
        <p:nvPicPr>
          <p:cNvPr id="5154" name="图片 2">
            <a:extLst>
              <a:ext uri="{FF2B5EF4-FFF2-40B4-BE49-F238E27FC236}">
                <a16:creationId xmlns:a16="http://schemas.microsoft.com/office/drawing/2014/main" id="{E701DE9C-80F1-4E5C-8CB3-7C41353202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573" y="2913514"/>
            <a:ext cx="1307793" cy="1220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55" name="图片 3">
            <a:extLst>
              <a:ext uri="{FF2B5EF4-FFF2-40B4-BE49-F238E27FC236}">
                <a16:creationId xmlns:a16="http://schemas.microsoft.com/office/drawing/2014/main" id="{180D4D7D-D1DF-406F-BCCC-C50D6B1A088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317" y="4007807"/>
            <a:ext cx="1168977" cy="917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56" name="文本框 2">
            <a:extLst>
              <a:ext uri="{FF2B5EF4-FFF2-40B4-BE49-F238E27FC236}">
                <a16:creationId xmlns:a16="http://schemas.microsoft.com/office/drawing/2014/main" id="{EF2459B6-4792-479D-AF42-786FD4AA87B6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2480117" y="2515737"/>
            <a:ext cx="468205" cy="553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lasmid transformation</a:t>
            </a:r>
            <a:endParaRPr lang="zh-CN" altLang="en-US" sz="614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57" name="文本框 3">
            <a:extLst>
              <a:ext uri="{FF2B5EF4-FFF2-40B4-BE49-F238E27FC236}">
                <a16:creationId xmlns:a16="http://schemas.microsoft.com/office/drawing/2014/main" id="{E4DE8C68-6DCF-4FC5-9F7B-A3AC07CDCA75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828682" y="2633206"/>
            <a:ext cx="566629" cy="281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Pick single colony</a:t>
            </a:r>
            <a:endParaRPr lang="zh-CN" altLang="en-US" sz="614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158" name="文本框 4">
            <a:extLst>
              <a:ext uri="{FF2B5EF4-FFF2-40B4-BE49-F238E27FC236}">
                <a16:creationId xmlns:a16="http://schemas.microsoft.com/office/drawing/2014/main" id="{A709F178-F496-45D8-8A00-63240D207342}"/>
              </a:ext>
            </a:extLst>
          </p:cNvPr>
          <p:cNvSpPr txBox="1">
            <a:spLocks noChangeArrowheads="1"/>
          </p:cNvSpPr>
          <p:nvPr/>
        </p:nvSpPr>
        <p:spPr bwMode="auto">
          <a:xfrm rot="10800000">
            <a:off x="3559797" y="2540902"/>
            <a:ext cx="468205" cy="469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676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614">
                <a:solidFill>
                  <a:srgbClr val="000000"/>
                </a:solidFill>
                <a:ea typeface="宋体" panose="02010600030101010101" pitchFamily="2" charset="-122"/>
              </a:rPr>
              <a:t>Bacteria culture expression</a:t>
            </a:r>
            <a:endParaRPr lang="zh-CN" altLang="en-US" sz="614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dJGa4vUSUjjFSKFWuGwA"/>
</p:tagLst>
</file>

<file path=ppt/theme/theme1.xml><?xml version="1.0" encoding="utf-8"?>
<a:theme xmlns:a="http://schemas.openxmlformats.org/drawingml/2006/main" name="(New)–Master Template 16-9">
  <a:themeElements>
    <a:clrScheme name="Custom 2">
      <a:dk1>
        <a:sysClr val="windowText" lastClr="000000"/>
      </a:dk1>
      <a:lt1>
        <a:sysClr val="window" lastClr="FFFFFF"/>
      </a:lt1>
      <a:dk2>
        <a:srgbClr val="F4364B"/>
      </a:dk2>
      <a:lt2>
        <a:srgbClr val="919D9D"/>
      </a:lt2>
      <a:accent1>
        <a:srgbClr val="717C7D"/>
      </a:accent1>
      <a:accent2>
        <a:srgbClr val="F4364B"/>
      </a:accent2>
      <a:accent3>
        <a:srgbClr val="919D9D"/>
      </a:accent3>
      <a:accent4>
        <a:srgbClr val="00BF6F"/>
      </a:accent4>
      <a:accent5>
        <a:srgbClr val="0047BB"/>
      </a:accent5>
      <a:accent6>
        <a:srgbClr val="AD1AAC"/>
      </a:accent6>
      <a:hlink>
        <a:srgbClr val="0563C1"/>
      </a:hlink>
      <a:folHlink>
        <a:srgbClr val="954F72"/>
      </a:folHlink>
    </a:clrScheme>
    <a:fontScheme name="Custom 1">
      <a:majorFont>
        <a:latin typeface="Century Gothic Pro Grk"/>
        <a:ea typeface=""/>
        <a:cs typeface=""/>
      </a:majorFont>
      <a:minorFont>
        <a:latin typeface="Century Gothic Pro Gr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D2B11124-0584-4806-8125-E5CC897E69C5}" vid="{382C7676-10FB-4BA6-906E-519E6269260B}"/>
    </a:ext>
  </a:extLst>
</a:theme>
</file>

<file path=ppt/theme/theme2.xml><?xml version="1.0" encoding="utf-8"?>
<a:theme xmlns:a="http://schemas.openxmlformats.org/drawingml/2006/main" name="DYNAL_newSP_Template_Horizontal">
  <a:themeElements>
    <a:clrScheme name="DYNAL_newSP_Template_Horizont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YNAL_newSP_Template_Horizont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CDCDC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146367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altLang="zh-CN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CDCDC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146367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altLang="zh-CN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DYNAL_newSP_Template_Horizont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YNAL_newSP_Template_Horizont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YNAL_newSP_Template_Horizont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YNAL_newSP_Template_Horizont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YNAL_newSP_Template_Horizont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YNAL_newSP_Template_Horizont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YNAL_newSP_Template_Horizont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YNAL_newSP_Template_Horizont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YNAL_newSP_Template_Horizont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YNAL_newSP_Template_Horizont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YNAL_newSP_Template_Horizont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YNAL_newSP_Template_Horizont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bcamTempate16-9</Template>
  <TotalTime>220</TotalTime>
  <Words>987</Words>
  <Application>Microsoft Office PowerPoint</Application>
  <PresentationFormat>On-screen Show (16:9)</PresentationFormat>
  <Paragraphs>143</Paragraphs>
  <Slides>9</Slides>
  <Notes>2</Notes>
  <HiddenSlides>2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Century Gothic Pro Grk</vt:lpstr>
      <vt:lpstr>宋体</vt:lpstr>
      <vt:lpstr>Arial</vt:lpstr>
      <vt:lpstr>Calibri</vt:lpstr>
      <vt:lpstr>Century Gothic</vt:lpstr>
      <vt:lpstr>Wingdings</vt:lpstr>
      <vt:lpstr>(New)–Master Template 16-9</vt:lpstr>
      <vt:lpstr>DYNAL_newSP_Template_Horizontal</vt:lpstr>
      <vt:lpstr>think-cell Slide</vt:lpstr>
      <vt:lpstr>PowerPoint Presentation</vt:lpstr>
      <vt:lpstr>PowerPoint Presentation</vt:lpstr>
      <vt:lpstr>Analysis and tests（分析和测试）</vt:lpstr>
      <vt:lpstr>Result（结果）</vt:lpstr>
      <vt:lpstr>Conclusion（结论）</vt:lpstr>
      <vt:lpstr>Appendix – Cost saving calcul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engting Xu</dc:creator>
  <cp:lastModifiedBy>Na Yang</cp:lastModifiedBy>
  <cp:revision>22</cp:revision>
  <cp:lastPrinted>2016-01-25T12:00:57Z</cp:lastPrinted>
  <dcterms:created xsi:type="dcterms:W3CDTF">2019-04-01T05:06:47Z</dcterms:created>
  <dcterms:modified xsi:type="dcterms:W3CDTF">2020-07-14T06:50:16Z</dcterms:modified>
</cp:coreProperties>
</file>